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45"/>
  </p:notesMasterIdLst>
  <p:sldIdLst>
    <p:sldId id="2147475164" r:id="rId5"/>
    <p:sldId id="2147475165" r:id="rId6"/>
    <p:sldId id="2147475166" r:id="rId7"/>
    <p:sldId id="2147475167" r:id="rId8"/>
    <p:sldId id="2147475168" r:id="rId9"/>
    <p:sldId id="2147475169" r:id="rId10"/>
    <p:sldId id="2147475170" r:id="rId11"/>
    <p:sldId id="2147475171" r:id="rId12"/>
    <p:sldId id="2147475172" r:id="rId13"/>
    <p:sldId id="2147475173" r:id="rId14"/>
    <p:sldId id="2147475174" r:id="rId15"/>
    <p:sldId id="2147475175" r:id="rId16"/>
    <p:sldId id="2147475176" r:id="rId17"/>
    <p:sldId id="2147475177" r:id="rId18"/>
    <p:sldId id="2147475178" r:id="rId19"/>
    <p:sldId id="2147475179" r:id="rId20"/>
    <p:sldId id="2147475180" r:id="rId21"/>
    <p:sldId id="2147475181" r:id="rId22"/>
    <p:sldId id="2147475182" r:id="rId23"/>
    <p:sldId id="2147475183" r:id="rId24"/>
    <p:sldId id="2147475184" r:id="rId25"/>
    <p:sldId id="2147475185" r:id="rId26"/>
    <p:sldId id="2147475186" r:id="rId27"/>
    <p:sldId id="2147475187" r:id="rId28"/>
    <p:sldId id="2147475188" r:id="rId29"/>
    <p:sldId id="2147475189" r:id="rId30"/>
    <p:sldId id="2147475190" r:id="rId31"/>
    <p:sldId id="2147475191" r:id="rId32"/>
    <p:sldId id="2147475192" r:id="rId33"/>
    <p:sldId id="2147475193" r:id="rId34"/>
    <p:sldId id="2147475194" r:id="rId35"/>
    <p:sldId id="2147475195" r:id="rId36"/>
    <p:sldId id="2147475196" r:id="rId37"/>
    <p:sldId id="2147475197" r:id="rId38"/>
    <p:sldId id="2147475198" r:id="rId39"/>
    <p:sldId id="2147475199" r:id="rId40"/>
    <p:sldId id="2147475200" r:id="rId41"/>
    <p:sldId id="2147475201" r:id="rId42"/>
    <p:sldId id="2147475202" r:id="rId43"/>
    <p:sldId id="2147475203" r:id="rId44"/>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Summary" id="{738C49FE-843F-44FB-B427-86195E578F8E}">
          <p14:sldIdLst>
            <p14:sldId id="2147475164"/>
            <p14:sldId id="2147475165"/>
            <p14:sldId id="2147475166"/>
            <p14:sldId id="2147475167"/>
            <p14:sldId id="2147475168"/>
            <p14:sldId id="2147475169"/>
            <p14:sldId id="2147475170"/>
            <p14:sldId id="2147475171"/>
            <p14:sldId id="2147475172"/>
            <p14:sldId id="2147475173"/>
          </p14:sldIdLst>
        </p14:section>
        <p14:section name="Innovation ranking" id="{FBD3AC6B-4B65-4AFF-A85F-F6967EC8F095}">
          <p14:sldIdLst>
            <p14:sldId id="2147475174"/>
            <p14:sldId id="2147475175"/>
            <p14:sldId id="2147475176"/>
            <p14:sldId id="2147475177"/>
            <p14:sldId id="2147475178"/>
            <p14:sldId id="2147475179"/>
            <p14:sldId id="2147475180"/>
            <p14:sldId id="2147475181"/>
            <p14:sldId id="2147475182"/>
            <p14:sldId id="2147475183"/>
          </p14:sldIdLst>
        </p14:section>
        <p14:section name="Innovation potential" id="{487B4CC8-4856-44E4-B91D-CFBD2C6418E1}">
          <p14:sldIdLst>
            <p14:sldId id="2147475184"/>
            <p14:sldId id="2147475185"/>
            <p14:sldId id="2147475186"/>
            <p14:sldId id="2147475187"/>
            <p14:sldId id="2147475188"/>
            <p14:sldId id="2147475189"/>
            <p14:sldId id="2147475190"/>
            <p14:sldId id="2147475191"/>
            <p14:sldId id="2147475192"/>
            <p14:sldId id="2147475193"/>
          </p14:sldIdLst>
        </p14:section>
        <p14:section name="Innovation sourcing" id="{019D38BD-72A1-4558-AB8B-D54946D60664}">
          <p14:sldIdLst>
            <p14:sldId id="2147475194"/>
            <p14:sldId id="2147475195"/>
            <p14:sldId id="2147475196"/>
            <p14:sldId id="2147475197"/>
            <p14:sldId id="2147475198"/>
            <p14:sldId id="2147475199"/>
            <p14:sldId id="2147475200"/>
            <p14:sldId id="2147475201"/>
            <p14:sldId id="2147475202"/>
            <p14:sldId id="214747520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22" d="100"/>
          <a:sy n="122" d="100"/>
        </p:scale>
        <p:origin x="355" y="36"/>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notesMaster" Target="notesMasters/notesMaster1.xml"/><Relationship Id="rId46" Type="http://schemas.openxmlformats.org/officeDocument/2006/relationships/presProps" Target="presProps.xml"/><Relationship Id="rId47" Type="http://schemas.openxmlformats.org/officeDocument/2006/relationships/viewProps" Target="viewProps.xml"/><Relationship Id="rId48" Type="http://schemas.openxmlformats.org/officeDocument/2006/relationships/theme" Target="theme/theme1.xml"/><Relationship Id="rId49" Type="http://schemas.openxmlformats.org/officeDocument/2006/relationships/tableStyles" Target="tableStyles.xml"/><Relationship Id="rId5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3 Blade Pro Sensitive Refills 6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spPr>
              <a:solidFill>
                <a:srgbClr val="7ECAC4"/>
              </a:solidFill>
            </c:spPr>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7ECAC4"/>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7ECAC4"/>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7ECAC4"/>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006C6D"/>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7ECAC4"/>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spPr>
              <a:solidFill>
                <a:srgbClr val="7ECAC4"/>
              </a:solidFill>
            </c:spPr>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7ECAC4"/>
              </a:solidFill>
            </c:spPr>
            <c:extLst>
              <c:ext xmlns:c16="http://schemas.microsoft.com/office/drawing/2014/chart" uri="{C3380CC4-5D6E-409C-BE32-E72D297353CC}">
                <c16:uniqueId val="{0000006D-77EF-42ED-BAFF-03BF265C16B5}"/>
              </c:ext>
            </c:extLst>
          </c:dPt>
          <c:dPt>
            <c:idx val="55"/>
            <c:invertIfNegative val="1"/>
            <c:bubble3D val="0"/>
            <c:spPr>
              <a:solidFill>
                <a:srgbClr val="7ECAC4"/>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r>
                      <a:rPr sz="500">
                        <a:solidFill>
                          <a:srgbClr val="006C6D"/>
                        </a:solidFill>
                      </a:rPr>
                      <a:t>Schick Hydro 3 Blade Pro Sensitive Refills 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Harry's Men Five Blade Refills 12 Pack</c:v>
                </c:pt>
                <c:pt idx="16">
                  <c:v>Gillette Fusion 5 Blade Refills 12 Pack</c:v>
                </c:pt>
                <c:pt idx="17">
                  <c:v>Schick Hydro 5 Blade Sensitive Refills 6 Pack</c:v>
                </c:pt>
                <c:pt idx="18">
                  <c:v>Gillette Fusion 5 Proglide Blade Refills 12 Pack</c:v>
                </c:pt>
                <c:pt idx="19">
                  <c:v>Gillette Fusion 5 1 Handle + 2 Cartridges</c:v>
                </c:pt>
                <c:pt idx="20">
                  <c:v>Schick Xtreme 3 Sensitive Disposable Razors 4 Pack</c:v>
                </c:pt>
                <c:pt idx="21">
                  <c:v>Schick Hydro 3 Blade Ultra Sensitive Refills 5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Fusion 5 1 Handle + 5 Cartridges</c:v>
                </c:pt>
                <c:pt idx="38">
                  <c:v>Gillette Sensor 3 Sensitive Disposable Razors 8 Pack</c:v>
                </c:pt>
                <c:pt idx="39">
                  <c:v>Schick Hydro 3 Blade Pro Sensitive Refills 6 Pack</c:v>
                </c:pt>
                <c:pt idx="40">
                  <c:v>Gillette Fusion 5 1 Handle + 7 Cartridges</c:v>
                </c:pt>
                <c:pt idx="41">
                  <c:v>Dollar Shave Club 6 Blades Blade Refills 8 Pack</c:v>
                </c:pt>
                <c:pt idx="42">
                  <c:v>Schick Hydro 5 Blade Sensitive 1 Handle + 3 Cartridges</c:v>
                </c:pt>
                <c:pt idx="43">
                  <c:v>Gillette Mach 3 1 Handle + 6 Cartridges</c:v>
                </c:pt>
                <c:pt idx="44">
                  <c:v>Schick Xtreme 3 Sensitive Disposable Razors 8 Pack</c:v>
                </c:pt>
                <c:pt idx="45">
                  <c:v>Gillette Sensor 3 Sensitive Disposable Razors 12 Pack</c:v>
                </c:pt>
                <c:pt idx="46">
                  <c:v>Schick Hydro 3 Blade Ultra Sensitive 1 Handle + 4 Cartridges</c:v>
                </c:pt>
                <c:pt idx="47">
                  <c:v>Bic Flex 4 Sensitive Skin Disposable Razors 3 Pack</c:v>
                </c:pt>
                <c:pt idx="48">
                  <c:v>Gillette Fusion 5 1 Handle + 3 Cartridges Holiday Pack</c:v>
                </c:pt>
                <c:pt idx="49">
                  <c:v>Gillette Fusion 5 Proglide 1 Handle + 4 Cartridges</c:v>
                </c:pt>
                <c:pt idx="50">
                  <c:v>Gillette Sensor 3 Disposable Razors 8 Pack</c:v>
                </c:pt>
                <c:pt idx="51">
                  <c:v>Equate Caliber 3 Disposable Razors 3 Pack</c:v>
                </c:pt>
                <c:pt idx="52">
                  <c:v>Equate Easy Fit 5 Blade Refills 12 Pack</c:v>
                </c:pt>
                <c:pt idx="53">
                  <c:v>Bic Men Sensitive Twin Blade Disposable Razors 10 Pack</c:v>
                </c:pt>
                <c:pt idx="54">
                  <c:v>Schick Hydro 5 Blade Sensitive Refills 12 Pack</c:v>
                </c:pt>
                <c:pt idx="55">
                  <c:v>Equate Easy Fit 5 blades 1 Handle + 2 Cartridges</c:v>
                </c:pt>
                <c:pt idx="56">
                  <c:v>Bic Flex 5 Disposable Razors 4 Pack</c:v>
                </c:pt>
                <c:pt idx="57">
                  <c:v>Bic Comfort 3 Sensitive Skin Disposable Razors 8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2026673304629841</c:v>
                </c:pt>
                <c:pt idx="1">
                  <c:v>0.11381600361434044</c:v>
                </c:pt>
                <c:pt idx="2">
                  <c:v>0.10223131407122465</c:v>
                </c:pt>
                <c:pt idx="3">
                  <c:v>0.10203634204448891</c:v>
                </c:pt>
                <c:pt idx="4">
                  <c:v>0.08803646705229305</c:v>
                </c:pt>
                <c:pt idx="5">
                  <c:v>0.06609464530469132</c:v>
                </c:pt>
                <c:pt idx="6">
                  <c:v>0.05522062888107987</c:v>
                </c:pt>
                <c:pt idx="7">
                  <c:v>0.054106514678785786</c:v>
                </c:pt>
                <c:pt idx="8">
                  <c:v>0.05404953714119129</c:v>
                </c:pt>
                <c:pt idx="9">
                  <c:v>0.048440721771558656</c:v>
                </c:pt>
                <c:pt idx="10">
                  <c:v>0.04406296444618337</c:v>
                </c:pt>
                <c:pt idx="11">
                  <c:v>0.043455700508819244</c:v>
                </c:pt>
                <c:pt idx="12">
                  <c:v>0.03910177416507455</c:v>
                </c:pt>
                <c:pt idx="13">
                  <c:v>0.03798975407203131</c:v>
                </c:pt>
                <c:pt idx="14">
                  <c:v>0.03564955350906096</c:v>
                </c:pt>
                <c:pt idx="15">
                  <c:v>0.028738548096763857</c:v>
                </c:pt>
                <c:pt idx="16">
                  <c:v>0.027946847684416472</c:v>
                </c:pt>
                <c:pt idx="17">
                  <c:v>0.027315534645741817</c:v>
                </c:pt>
                <c:pt idx="18">
                  <c:v>0.026720099777571563</c:v>
                </c:pt>
                <c:pt idx="19">
                  <c:v>0.026167244487973765</c:v>
                </c:pt>
                <c:pt idx="20">
                  <c:v>0.02599890398591094</c:v>
                </c:pt>
                <c:pt idx="21">
                  <c:v>0.025740856195100695</c:v>
                </c:pt>
                <c:pt idx="22">
                  <c:v>0.02559788750613814</c:v>
                </c:pt>
                <c:pt idx="23">
                  <c:v>0.0252777296292383</c:v>
                </c:pt>
                <c:pt idx="24">
                  <c:v>0.023014238195746925</c:v>
                </c:pt>
                <c:pt idx="25">
                  <c:v>0.02200852703453577</c:v>
                </c:pt>
                <c:pt idx="26">
                  <c:v>0.02183390914704562</c:v>
                </c:pt>
                <c:pt idx="27">
                  <c:v>0.021435531568050267</c:v>
                </c:pt>
                <c:pt idx="28">
                  <c:v>0.021305572199156183</c:v>
                </c:pt>
                <c:pt idx="29">
                  <c:v>0.021091316480521656</c:v>
                </c:pt>
                <c:pt idx="30">
                  <c:v>0.020707145234094886</c:v>
                </c:pt>
                <c:pt idx="31">
                  <c:v>0.020503930301424833</c:v>
                </c:pt>
                <c:pt idx="32">
                  <c:v>0.020081002689506865</c:v>
                </c:pt>
                <c:pt idx="33">
                  <c:v>0.019191092247805762</c:v>
                </c:pt>
                <c:pt idx="34">
                  <c:v>0.019153878549908892</c:v>
                </c:pt>
                <c:pt idx="35">
                  <c:v>0.018931020722248098</c:v>
                </c:pt>
                <c:pt idx="36">
                  <c:v>0.018795764473460205</c:v>
                </c:pt>
                <c:pt idx="37">
                  <c:v>0.0184487686445965</c:v>
                </c:pt>
                <c:pt idx="38">
                  <c:v>0.0183746448661405</c:v>
                </c:pt>
                <c:pt idx="39">
                  <c:v>0.018226362781530597</c:v>
                </c:pt>
                <c:pt idx="40">
                  <c:v>0.018171885914178763</c:v>
                </c:pt>
                <c:pt idx="41">
                  <c:v>0.017480567744415237</c:v>
                </c:pt>
                <c:pt idx="42">
                  <c:v>0.01693816747365398</c:v>
                </c:pt>
                <c:pt idx="43">
                  <c:v>0.016936924368398717</c:v>
                </c:pt>
                <c:pt idx="44">
                  <c:v>0.01643146948443865</c:v>
                </c:pt>
                <c:pt idx="45">
                  <c:v>0.016249044118542527</c:v>
                </c:pt>
                <c:pt idx="46">
                  <c:v>0.016104184116666306</c:v>
                </c:pt>
                <c:pt idx="47">
                  <c:v>0.016008831135195356</c:v>
                </c:pt>
                <c:pt idx="48">
                  <c:v>0.01595375216214229</c:v>
                </c:pt>
                <c:pt idx="49">
                  <c:v>0.015585336955491831</c:v>
                </c:pt>
                <c:pt idx="50">
                  <c:v>0.014179920959166504</c:v>
                </c:pt>
                <c:pt idx="51">
                  <c:v>0.013936292766614235</c:v>
                </c:pt>
                <c:pt idx="52">
                  <c:v>0.013502439964480315</c:v>
                </c:pt>
                <c:pt idx="53">
                  <c:v>0.013233299218931632</c:v>
                </c:pt>
                <c:pt idx="54">
                  <c:v>0.013105534730519886</c:v>
                </c:pt>
                <c:pt idx="55">
                  <c:v>0.012914344731355517</c:v>
                </c:pt>
                <c:pt idx="56">
                  <c:v>0.012721126291234374</c:v>
                </c:pt>
                <c:pt idx="57">
                  <c:v>0.01262470414964072</c:v>
                </c:pt>
                <c:pt idx="58">
                  <c:v>0.012073179704858734</c:v>
                </c:pt>
                <c:pt idx="59">
                  <c:v>0.0108002658734992</c:v>
                </c:pt>
                <c:pt idx="60">
                  <c:v>0.01029411740692894</c:v>
                </c:pt>
                <c:pt idx="61">
                  <c:v>0.009253005339451946</c:v>
                </c:pt>
                <c:pt idx="62">
                  <c:v>0.009088815653903768</c:v>
                </c:pt>
                <c:pt idx="63">
                  <c:v>0.009079531228981554</c:v>
                </c:pt>
                <c:pt idx="64">
                  <c:v>0.009028399829886631</c:v>
                </c:pt>
                <c:pt idx="65">
                  <c:v>0.008739249808985836</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5 Sensitive Disposable Razors 8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7ECAC4"/>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7ECAC4"/>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7ECAC4"/>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7ECAC4"/>
              </a:solidFill>
            </c:spPr>
            <c:extLst>
              <c:ext xmlns:c16="http://schemas.microsoft.com/office/drawing/2014/chart" uri="{C3380CC4-5D6E-409C-BE32-E72D297353CC}">
                <c16:uniqueId val="{0000003D-902D-4251-AC41-C6D4CBCA5CD6}"/>
              </c:ext>
            </c:extLst>
          </c:dPt>
          <c:dPt>
            <c:idx val="31"/>
            <c:invertIfNegative val="1"/>
            <c:bubble3D val="0"/>
            <c:spPr>
              <a:solidFill>
                <a:srgbClr val="7ECAC4"/>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7ECAC4"/>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7ECAC4"/>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spPr>
              <a:solidFill>
                <a:srgbClr val="7ECAC4"/>
              </a:solidFill>
            </c:spPr>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7ECAC4"/>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006C6D"/>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7ECAC4"/>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r>
                      <a:rPr sz="500">
                        <a:solidFill>
                          <a:srgbClr val="006C6D"/>
                        </a:solidFill>
                      </a:rPr>
                      <a:t>Schick Xtreme 5 Sensitive Disposable Razors 8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Dollar Shave Club 6 1 Handle + 2 Blades</c:v>
                </c:pt>
                <c:pt idx="34">
                  <c:v>Equate Speed 3 Disposable Razors 8 Pack</c:v>
                </c:pt>
                <c:pt idx="35">
                  <c:v>Bic Comfort 3 Sensitive Skin Disposable Razors 4 Pack</c:v>
                </c:pt>
                <c:pt idx="36">
                  <c:v>Gillette Sensor 3 Disposable Razors 12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Schick Hydro 5 Blade Sensitive 1 Handle + 3 Cartridges</c:v>
                </c:pt>
                <c:pt idx="43">
                  <c:v>Bic Flex 4 Sensitive Skin Disposable Razors 3 Pack</c:v>
                </c:pt>
                <c:pt idx="44">
                  <c:v>Schick Hydro 3 Blade Ultra Sensitive 1 Handle + 4 Cartridges</c:v>
                </c:pt>
                <c:pt idx="45">
                  <c:v>Gillette Fusion 5 1 Handle + 3 Cartridges Holiday Pack</c:v>
                </c:pt>
                <c:pt idx="46">
                  <c:v>Gillette Sensor 3 Sensitive Disposable Razors 12 Pack</c:v>
                </c:pt>
                <c:pt idx="47">
                  <c:v>Schick Xtreme 3 Sensitive Disposable Razors 8 Pack</c:v>
                </c:pt>
                <c:pt idx="48">
                  <c:v>Gillette Fusion 5 Proglide 1 Handle + 4 Cartridges</c:v>
                </c:pt>
                <c:pt idx="49">
                  <c:v>Gillette Sensor 3 Disposable Razors 8 Pack</c:v>
                </c:pt>
                <c:pt idx="50">
                  <c:v>Equate Caliber 3 Disposable Razors 3 Pack</c:v>
                </c:pt>
                <c:pt idx="51">
                  <c:v>Schick Hydro 5 Blade Sensitive Refills 12 Pack</c:v>
                </c:pt>
                <c:pt idx="52">
                  <c:v>Schick Xtreme 5 Sensitive Disposable Razors 8 Pack</c:v>
                </c:pt>
                <c:pt idx="53">
                  <c:v>Equate Easy Fit 5 Blade Refills 12 Pack</c:v>
                </c:pt>
                <c:pt idx="54">
                  <c:v>Bic Men Sensitive Twin Blade Disposable Razors 10 Pack</c:v>
                </c:pt>
                <c:pt idx="55">
                  <c:v>Equate Easy Fit 5 blades 1 Handle + 2 Cartridges</c:v>
                </c:pt>
                <c:pt idx="56">
                  <c:v>Bic Flex 5 Disposable Razors 4 Pack</c:v>
                </c:pt>
                <c:pt idx="57">
                  <c:v>Bic Comfort 3 Sensitive Skin Disposable Razors 8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Mach 3 Blade Refills 15 Pack</c:v>
                </c:pt>
                <c:pt idx="65">
                  <c:v>Gillette Sensor 2 Pivot Head Disposable Razors 25 Pack</c:v>
                </c:pt>
              </c:strCache>
            </c:strRef>
          </c:cat>
          <c:val>
            <c:numRef>
              <c:f>Sheet1!$B$2:$B$67</c:f>
              <c:numCache>
                <c:formatCode>General</c:formatCode>
                <c:ptCount val="66"/>
                <c:pt idx="0">
                  <c:v>0.20433350474554265</c:v>
                </c:pt>
                <c:pt idx="1">
                  <c:v>0.11313022007040646</c:v>
                </c:pt>
                <c:pt idx="2">
                  <c:v>0.10263687996750157</c:v>
                </c:pt>
                <c:pt idx="3">
                  <c:v>0.10253232757020268</c:v>
                </c:pt>
                <c:pt idx="4">
                  <c:v>0.08852665973407185</c:v>
                </c:pt>
                <c:pt idx="5">
                  <c:v>0.06659238780818752</c:v>
                </c:pt>
                <c:pt idx="6">
                  <c:v>0.054853334236314416</c:v>
                </c:pt>
                <c:pt idx="7">
                  <c:v>0.05385718150474228</c:v>
                </c:pt>
                <c:pt idx="8">
                  <c:v>0.05384345604017134</c:v>
                </c:pt>
                <c:pt idx="9">
                  <c:v>0.0486323985027168</c:v>
                </c:pt>
                <c:pt idx="10">
                  <c:v>0.04437805471588063</c:v>
                </c:pt>
                <c:pt idx="11">
                  <c:v>0.04377749148518097</c:v>
                </c:pt>
                <c:pt idx="12">
                  <c:v>0.039300925705656305</c:v>
                </c:pt>
                <c:pt idx="13">
                  <c:v>0.03792149306508684</c:v>
                </c:pt>
                <c:pt idx="14">
                  <c:v>0.03567996299399069</c:v>
                </c:pt>
                <c:pt idx="15">
                  <c:v>0.03492794373285257</c:v>
                </c:pt>
                <c:pt idx="16">
                  <c:v>0.030504263598287926</c:v>
                </c:pt>
                <c:pt idx="17">
                  <c:v>0.02896600999016969</c:v>
                </c:pt>
                <c:pt idx="18">
                  <c:v>0.02807002717507066</c:v>
                </c:pt>
                <c:pt idx="19">
                  <c:v>0.026866212857383533</c:v>
                </c:pt>
                <c:pt idx="20">
                  <c:v>0.025944797011862922</c:v>
                </c:pt>
                <c:pt idx="21">
                  <c:v>0.025192550316508334</c:v>
                </c:pt>
                <c:pt idx="22">
                  <c:v>0.025009000319574738</c:v>
                </c:pt>
                <c:pt idx="23">
                  <c:v>0.024972305282682596</c:v>
                </c:pt>
                <c:pt idx="24">
                  <c:v>0.022929056065554523</c:v>
                </c:pt>
                <c:pt idx="25">
                  <c:v>0.02174453009522834</c:v>
                </c:pt>
                <c:pt idx="26">
                  <c:v>0.02166663525998279</c:v>
                </c:pt>
                <c:pt idx="27">
                  <c:v>0.02118419194227544</c:v>
                </c:pt>
                <c:pt idx="28">
                  <c:v>0.02118064415753836</c:v>
                </c:pt>
                <c:pt idx="29">
                  <c:v>0.020811846666678055</c:v>
                </c:pt>
                <c:pt idx="30">
                  <c:v>0.02076937435305514</c:v>
                </c:pt>
                <c:pt idx="31">
                  <c:v>0.020318475274920034</c:v>
                </c:pt>
                <c:pt idx="32">
                  <c:v>0.019841807144580184</c:v>
                </c:pt>
                <c:pt idx="33">
                  <c:v>0.019114069042888364</c:v>
                </c:pt>
                <c:pt idx="34">
                  <c:v>0.018781157081248518</c:v>
                </c:pt>
                <c:pt idx="35">
                  <c:v>0.018640974130908514</c:v>
                </c:pt>
                <c:pt idx="36">
                  <c:v>0.018533524474403065</c:v>
                </c:pt>
                <c:pt idx="37">
                  <c:v>0.01815841171463208</c:v>
                </c:pt>
                <c:pt idx="38">
                  <c:v>0.01801654792804191</c:v>
                </c:pt>
                <c:pt idx="39">
                  <c:v>0.017908052269955017</c:v>
                </c:pt>
                <c:pt idx="40">
                  <c:v>0.017598829374186407</c:v>
                </c:pt>
                <c:pt idx="41">
                  <c:v>0.01665300969909709</c:v>
                </c:pt>
                <c:pt idx="42">
                  <c:v>0.01649814157309381</c:v>
                </c:pt>
                <c:pt idx="43">
                  <c:v>0.015828596701955744</c:v>
                </c:pt>
                <c:pt idx="44">
                  <c:v>0.015807891675297548</c:v>
                </c:pt>
                <c:pt idx="45">
                  <c:v>0.01577731771357813</c:v>
                </c:pt>
                <c:pt idx="46">
                  <c:v>0.0157032012792688</c:v>
                </c:pt>
                <c:pt idx="47">
                  <c:v>0.015485719785118169</c:v>
                </c:pt>
                <c:pt idx="48">
                  <c:v>0.015376349304601345</c:v>
                </c:pt>
                <c:pt idx="49">
                  <c:v>0.013920998757496215</c:v>
                </c:pt>
                <c:pt idx="50">
                  <c:v>0.01387027440349407</c:v>
                </c:pt>
                <c:pt idx="51">
                  <c:v>0.013625938935545603</c:v>
                </c:pt>
                <c:pt idx="52">
                  <c:v>0.013589483117935496</c:v>
                </c:pt>
                <c:pt idx="53">
                  <c:v>0.013529018350195115</c:v>
                </c:pt>
                <c:pt idx="54">
                  <c:v>0.013055420940938426</c:v>
                </c:pt>
                <c:pt idx="55">
                  <c:v>0.01274328407619359</c:v>
                </c:pt>
                <c:pt idx="56">
                  <c:v>0.012520722803635309</c:v>
                </c:pt>
                <c:pt idx="57">
                  <c:v>0.012515636201839968</c:v>
                </c:pt>
                <c:pt idx="58">
                  <c:v>0.011911558459829807</c:v>
                </c:pt>
                <c:pt idx="59">
                  <c:v>0.010320965663210488</c:v>
                </c:pt>
                <c:pt idx="60">
                  <c:v>0.009347840569373983</c:v>
                </c:pt>
                <c:pt idx="61">
                  <c:v>0.009185912836744265</c:v>
                </c:pt>
                <c:pt idx="62">
                  <c:v>0.008970038609510473</c:v>
                </c:pt>
                <c:pt idx="63">
                  <c:v>0.008876295783257424</c:v>
                </c:pt>
                <c:pt idx="64">
                  <c:v>0.008751788404321703</c:v>
                </c:pt>
                <c:pt idx="65">
                  <c:v>0.008487078948344766</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3 Body &amp; Groin Disposable Razors 3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7ECAC4"/>
              </a:solidFill>
            </c:spPr>
            <c:extLst>
              <c:ext xmlns:c16="http://schemas.microsoft.com/office/drawing/2014/chart" uri="{C3380CC4-5D6E-409C-BE32-E72D297353CC}">
                <c16:uniqueId val="{0000001F-999B-42C0-A7D9-A2057CE05A51}"/>
              </c:ext>
            </c:extLst>
          </c:dPt>
          <c:dPt>
            <c:idx val="16"/>
            <c:invertIfNegative val="1"/>
            <c:bubble3D val="0"/>
            <c:spPr>
              <a:solidFill>
                <a:srgbClr val="7ECAC4"/>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7ECAC4"/>
              </a:solidFill>
            </c:spPr>
            <c:extLst>
              <c:ext xmlns:c16="http://schemas.microsoft.com/office/drawing/2014/chart" uri="{C3380CC4-5D6E-409C-BE32-E72D297353CC}">
                <c16:uniqueId val="{0000002B-999B-42C0-A7D9-A2057CE05A51}"/>
              </c:ext>
            </c:extLst>
          </c:dPt>
          <c:dPt>
            <c:idx val="22"/>
            <c:invertIfNegative val="1"/>
            <c:bubble3D val="0"/>
            <c:spPr>
              <a:solidFill>
                <a:srgbClr val="7ECAC4"/>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7ECAC4"/>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7ECAC4"/>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7ECAC4"/>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7ECAC4"/>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7ECAC4"/>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7ECAC4"/>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7ECAC4"/>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7ECAC4"/>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006C6D"/>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7ECAC4"/>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r>
                      <a:rPr sz="500">
                        <a:solidFill>
                          <a:srgbClr val="006C6D"/>
                        </a:solidFill>
                      </a:rPr>
                      <a:t>Schick Xtreme 3 Body &amp; Groin Disposable Razors 3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2 Sensitive Disposable Razors 12 Pack</c:v>
                </c:pt>
                <c:pt idx="22">
                  <c:v>Schick Xtreme 3 Sensitive Disposable Razors 4 Pack</c:v>
                </c:pt>
                <c:pt idx="23">
                  <c:v>Gillette Mach 3 1 Handle + 2 Cartridges</c:v>
                </c:pt>
                <c:pt idx="24">
                  <c:v>Harry's 5 Blade 1 Handle + 5 Cartridges</c:v>
                </c:pt>
                <c:pt idx="25">
                  <c:v>Gillette Sensor 3 Sensitive Disposable Razors 4 Pack</c:v>
                </c:pt>
                <c:pt idx="26">
                  <c:v>Equate Speed 3 Disposable Razors 4 Pack</c:v>
                </c:pt>
                <c:pt idx="27">
                  <c:v>Bic 3 Sensitive Disposable Razors 5 Pack</c:v>
                </c:pt>
                <c:pt idx="28">
                  <c:v>Gillette Mach 3 Sensitive Skin Disposable Razors 3 Pack</c:v>
                </c:pt>
                <c:pt idx="29">
                  <c:v>Equate Easy Fit 5 Blade Refills 8 Pack</c:v>
                </c:pt>
                <c:pt idx="30">
                  <c:v>Gillette Sensor 2 Pivot Head Disposable Razors 12 Pack</c:v>
                </c:pt>
                <c:pt idx="31">
                  <c:v>Equate Caliber 5 Disposable Razors 3 Pack</c:v>
                </c:pt>
                <c:pt idx="32">
                  <c:v>Gillette Sensor 2 Plus Disposable Razors 10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Fusion 5 1 Handle + 5 Cartridges</c:v>
                </c:pt>
                <c:pt idx="38">
                  <c:v>Gillette Fusion 5 1 Handle + 7 Cartridges</c:v>
                </c:pt>
                <c:pt idx="39">
                  <c:v>Gillette Sensor 3 Sensitive Disposable Razors 8 Pack</c:v>
                </c:pt>
                <c:pt idx="40">
                  <c:v>Dollar Shave Club 6 Blades Blade Refills 8 Pack</c:v>
                </c:pt>
                <c:pt idx="41">
                  <c:v>Gillette Mach 3 1 Handle + 6 Cartridges</c:v>
                </c:pt>
                <c:pt idx="42">
                  <c:v>Schick Hydro 5 Blade Sensitive 1 Handle + 3 Cartridges</c:v>
                </c:pt>
                <c:pt idx="43">
                  <c:v>Gillette Sensor 3 Sensitive Disposable Razors 12 Pack</c:v>
                </c:pt>
                <c:pt idx="44">
                  <c:v>Gillette Fusion 5 1 Handle + 3 Cartridges Holiday Pack</c:v>
                </c:pt>
                <c:pt idx="45">
                  <c:v>Schick Xtreme 3 Sensitive Disposable Razors 8 Pack</c:v>
                </c:pt>
                <c:pt idx="46">
                  <c:v>Bic Flex 4 Sensitive Skin Disposable Razors 3 Pack</c:v>
                </c:pt>
                <c:pt idx="47">
                  <c:v>Schick Hydro 3 Blade Ultra Sensitive 1 Handle + 4 Cartridges</c:v>
                </c:pt>
                <c:pt idx="48">
                  <c:v>Gillette Fusion 5 Proglide 1 Handle + 4 Cartridges</c:v>
                </c:pt>
                <c:pt idx="49">
                  <c:v>Gillette Sensor 3 Disposable Razors 8 Pack</c:v>
                </c:pt>
                <c:pt idx="50">
                  <c:v>Equate Caliber 3 Disposable Razors 3 Pack</c:v>
                </c:pt>
                <c:pt idx="51">
                  <c:v>Schick Hydro 5 Blade Sensitive Refills 12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Schick Xtreme 3 Body &amp; Groin Disposable Razors 3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2041348615575686</c:v>
                </c:pt>
                <c:pt idx="1">
                  <c:v>0.11332398216668535</c:v>
                </c:pt>
                <c:pt idx="2">
                  <c:v>0.10293938597158361</c:v>
                </c:pt>
                <c:pt idx="3">
                  <c:v>0.10241751892992806</c:v>
                </c:pt>
                <c:pt idx="4">
                  <c:v>0.08866501039082292</c:v>
                </c:pt>
                <c:pt idx="5">
                  <c:v>0.06658854236655153</c:v>
                </c:pt>
                <c:pt idx="6">
                  <c:v>0.05491100280129023</c:v>
                </c:pt>
                <c:pt idx="7">
                  <c:v>0.05385259949583958</c:v>
                </c:pt>
                <c:pt idx="8">
                  <c:v>0.05375808564159398</c:v>
                </c:pt>
                <c:pt idx="9">
                  <c:v>0.04872644971482234</c:v>
                </c:pt>
                <c:pt idx="10">
                  <c:v>0.044240602536990185</c:v>
                </c:pt>
                <c:pt idx="11">
                  <c:v>0.04377034336094472</c:v>
                </c:pt>
                <c:pt idx="12">
                  <c:v>0.03939249102079367</c:v>
                </c:pt>
                <c:pt idx="13">
                  <c:v>0.037906229964224526</c:v>
                </c:pt>
                <c:pt idx="14">
                  <c:v>0.035712534882156186</c:v>
                </c:pt>
                <c:pt idx="15">
                  <c:v>0.034598319852490546</c:v>
                </c:pt>
                <c:pt idx="16">
                  <c:v>0.030411436559857043</c:v>
                </c:pt>
                <c:pt idx="17">
                  <c:v>0.028958190959234943</c:v>
                </c:pt>
                <c:pt idx="18">
                  <c:v>0.028161419587106766</c:v>
                </c:pt>
                <c:pt idx="19">
                  <c:v>0.02692694601763935</c:v>
                </c:pt>
                <c:pt idx="20">
                  <c:v>0.02606064606647657</c:v>
                </c:pt>
                <c:pt idx="21">
                  <c:v>0.025022858783267297</c:v>
                </c:pt>
                <c:pt idx="22">
                  <c:v>0.02501509883667683</c:v>
                </c:pt>
                <c:pt idx="23">
                  <c:v>0.024920983858052765</c:v>
                </c:pt>
                <c:pt idx="24">
                  <c:v>0.022943432086555655</c:v>
                </c:pt>
                <c:pt idx="25">
                  <c:v>0.021676095820566357</c:v>
                </c:pt>
                <c:pt idx="26">
                  <c:v>0.02157970701182227</c:v>
                </c:pt>
                <c:pt idx="27">
                  <c:v>0.021106231913866826</c:v>
                </c:pt>
                <c:pt idx="28">
                  <c:v>0.02104489654008607</c:v>
                </c:pt>
                <c:pt idx="29">
                  <c:v>0.020828777087772494</c:v>
                </c:pt>
                <c:pt idx="30">
                  <c:v>0.02080427205563477</c:v>
                </c:pt>
                <c:pt idx="31">
                  <c:v>0.020348512958538126</c:v>
                </c:pt>
                <c:pt idx="32">
                  <c:v>0.019757741850686763</c:v>
                </c:pt>
                <c:pt idx="33">
                  <c:v>0.019038011456236563</c:v>
                </c:pt>
                <c:pt idx="34">
                  <c:v>0.01883933994172599</c:v>
                </c:pt>
                <c:pt idx="35">
                  <c:v>0.01877907076234528</c:v>
                </c:pt>
                <c:pt idx="36">
                  <c:v>0.018540884731914085</c:v>
                </c:pt>
                <c:pt idx="37">
                  <c:v>0.01839561837079591</c:v>
                </c:pt>
                <c:pt idx="38">
                  <c:v>0.01813528803043036</c:v>
                </c:pt>
                <c:pt idx="39">
                  <c:v>0.01811651185602974</c:v>
                </c:pt>
                <c:pt idx="40">
                  <c:v>0.017567219934571505</c:v>
                </c:pt>
                <c:pt idx="41">
                  <c:v>0.016798577361622612</c:v>
                </c:pt>
                <c:pt idx="42">
                  <c:v>0.016510280903703132</c:v>
                </c:pt>
                <c:pt idx="43">
                  <c:v>0.01601048555848211</c:v>
                </c:pt>
                <c:pt idx="44">
                  <c:v>0.015896935305672922</c:v>
                </c:pt>
                <c:pt idx="45">
                  <c:v>0.015714387114502147</c:v>
                </c:pt>
                <c:pt idx="46">
                  <c:v>0.01570133570391935</c:v>
                </c:pt>
                <c:pt idx="47">
                  <c:v>0.015698214662423892</c:v>
                </c:pt>
                <c:pt idx="48">
                  <c:v>0.01550182893930257</c:v>
                </c:pt>
                <c:pt idx="49">
                  <c:v>0.01397836219378164</c:v>
                </c:pt>
                <c:pt idx="50">
                  <c:v>0.013832661249536513</c:v>
                </c:pt>
                <c:pt idx="51">
                  <c:v>0.013614938529466101</c:v>
                </c:pt>
                <c:pt idx="52">
                  <c:v>0.013582909757415166</c:v>
                </c:pt>
                <c:pt idx="53">
                  <c:v>0.01310874783010721</c:v>
                </c:pt>
                <c:pt idx="54">
                  <c:v>0.012799694959572536</c:v>
                </c:pt>
                <c:pt idx="55">
                  <c:v>0.012586280538493644</c:v>
                </c:pt>
                <c:pt idx="56">
                  <c:v>0.012476377190447295</c:v>
                </c:pt>
                <c:pt idx="57">
                  <c:v>0.011925967502931543</c:v>
                </c:pt>
                <c:pt idx="58">
                  <c:v>0.010985556350297276</c:v>
                </c:pt>
                <c:pt idx="59">
                  <c:v>0.010623867780954041</c:v>
                </c:pt>
                <c:pt idx="60">
                  <c:v>0.009980463961894347</c:v>
                </c:pt>
                <c:pt idx="61">
                  <c:v>0.009205194496710525</c:v>
                </c:pt>
                <c:pt idx="62">
                  <c:v>0.008979421783842314</c:v>
                </c:pt>
                <c:pt idx="63">
                  <c:v>0.008934498756692206</c:v>
                </c:pt>
                <c:pt idx="64">
                  <c:v>0.00887375685376803</c:v>
                </c:pt>
                <c:pt idx="65">
                  <c:v>0.008762100982284384</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Ultimate Comfort Disposable Razors 3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83E0-4716-877A-8084D4846F88}"/>
              </c:ext>
            </c:extLst>
          </c:dPt>
          <c:dPt>
            <c:idx val="1"/>
            <c:invertIfNegative val="1"/>
            <c:bubble3D val="0"/>
            <c:spPr>
              <a:solidFill>
                <a:srgbClr val="AEABAB"/>
              </a:solidFill>
            </c:spPr>
            <c:extLst>
              <c:ext xmlns:c16="http://schemas.microsoft.com/office/drawing/2014/chart" uri="{C3380CC4-5D6E-409C-BE32-E72D297353CC}">
                <c16:uniqueId val="{00000003-83E0-4716-877A-8084D4846F88}"/>
              </c:ext>
            </c:extLst>
          </c:dPt>
          <c:dPt>
            <c:idx val="2"/>
            <c:invertIfNegative val="1"/>
            <c:bubble3D val="0"/>
            <c:spPr>
              <a:solidFill>
                <a:srgbClr val="AEABAB"/>
              </a:solidFill>
            </c:spPr>
            <c:extLst>
              <c:ext xmlns:c16="http://schemas.microsoft.com/office/drawing/2014/chart" uri="{C3380CC4-5D6E-409C-BE32-E72D297353CC}">
                <c16:uniqueId val="{00000005-83E0-4716-877A-8084D4846F88}"/>
              </c:ext>
            </c:extLst>
          </c:dPt>
          <c:dPt>
            <c:idx val="3"/>
            <c:invertIfNegative val="0"/>
            <c:bubble3D val="0"/>
            <c:extLst>
              <c:ext xmlns:c16="http://schemas.microsoft.com/office/drawing/2014/chart" uri="{C3380CC4-5D6E-409C-BE32-E72D297353CC}">
                <c16:uniqueId val="{00000007-83E0-4716-877A-8084D4846F88}"/>
              </c:ext>
            </c:extLst>
          </c:dPt>
          <c:dPt>
            <c:idx val="4"/>
            <c:invertIfNegative val="1"/>
            <c:bubble3D val="0"/>
            <c:spPr>
              <a:solidFill>
                <a:srgbClr val="AEABAB"/>
              </a:solidFill>
            </c:spPr>
            <c:extLst>
              <c:ext xmlns:c16="http://schemas.microsoft.com/office/drawing/2014/chart" uri="{C3380CC4-5D6E-409C-BE32-E72D297353CC}">
                <c16:uniqueId val="{00000009-83E0-4716-877A-8084D4846F88}"/>
              </c:ext>
            </c:extLst>
          </c:dPt>
          <c:dPt>
            <c:idx val="5"/>
            <c:invertIfNegative val="1"/>
            <c:bubble3D val="0"/>
            <c:spPr>
              <a:solidFill>
                <a:srgbClr val="AEABAB"/>
              </a:solidFill>
            </c:spPr>
            <c:extLst>
              <c:ext xmlns:c16="http://schemas.microsoft.com/office/drawing/2014/chart" uri="{C3380CC4-5D6E-409C-BE32-E72D297353CC}">
                <c16:uniqueId val="{0000000B-83E0-4716-877A-8084D4846F88}"/>
              </c:ext>
            </c:extLst>
          </c:dPt>
          <c:dPt>
            <c:idx val="6"/>
            <c:invertIfNegative val="1"/>
            <c:bubble3D val="0"/>
            <c:spPr>
              <a:solidFill>
                <a:srgbClr val="7ECAC4"/>
              </a:solidFill>
            </c:spPr>
            <c:extLst>
              <c:ext xmlns:c16="http://schemas.microsoft.com/office/drawing/2014/chart" uri="{C3380CC4-5D6E-409C-BE32-E72D297353CC}">
                <c16:uniqueId val="{0000000D-83E0-4716-877A-8084D4846F88}"/>
              </c:ext>
            </c:extLst>
          </c:dPt>
          <c:dPt>
            <c:idx val="7"/>
            <c:invertIfNegative val="1"/>
            <c:bubble3D val="0"/>
            <c:spPr>
              <a:solidFill>
                <a:srgbClr val="AEABAB"/>
              </a:solidFill>
            </c:spPr>
            <c:extLst>
              <c:ext xmlns:c16="http://schemas.microsoft.com/office/drawing/2014/chart" uri="{C3380CC4-5D6E-409C-BE32-E72D297353CC}">
                <c16:uniqueId val="{0000000F-83E0-4716-877A-8084D4846F88}"/>
              </c:ext>
            </c:extLst>
          </c:dPt>
          <c:dPt>
            <c:idx val="8"/>
            <c:invertIfNegative val="1"/>
            <c:bubble3D val="0"/>
            <c:spPr>
              <a:solidFill>
                <a:srgbClr val="7ECAC4"/>
              </a:solidFill>
            </c:spPr>
            <c:extLst>
              <c:ext xmlns:c16="http://schemas.microsoft.com/office/drawing/2014/chart" uri="{C3380CC4-5D6E-409C-BE32-E72D297353CC}">
                <c16:uniqueId val="{00000011-83E0-4716-877A-8084D4846F88}"/>
              </c:ext>
            </c:extLst>
          </c:dPt>
          <c:dPt>
            <c:idx val="9"/>
            <c:invertIfNegative val="1"/>
            <c:bubble3D val="0"/>
            <c:spPr>
              <a:solidFill>
                <a:srgbClr val="7ECAC4"/>
              </a:solidFill>
            </c:spPr>
            <c:extLst>
              <c:ext xmlns:c16="http://schemas.microsoft.com/office/drawing/2014/chart" uri="{C3380CC4-5D6E-409C-BE32-E72D297353CC}">
                <c16:uniqueId val="{00000013-83E0-4716-877A-8084D4846F88}"/>
              </c:ext>
            </c:extLst>
          </c:dPt>
          <c:dPt>
            <c:idx val="10"/>
            <c:invertIfNegative val="1"/>
            <c:bubble3D val="0"/>
            <c:spPr>
              <a:solidFill>
                <a:srgbClr val="AEABAB"/>
              </a:solidFill>
            </c:spPr>
            <c:extLst>
              <c:ext xmlns:c16="http://schemas.microsoft.com/office/drawing/2014/chart" uri="{C3380CC4-5D6E-409C-BE32-E72D297353CC}">
                <c16:uniqueId val="{00000015-83E0-4716-877A-8084D4846F88}"/>
              </c:ext>
            </c:extLst>
          </c:dPt>
          <c:dPt>
            <c:idx val="11"/>
            <c:invertIfNegative val="1"/>
            <c:bubble3D val="0"/>
            <c:spPr>
              <a:solidFill>
                <a:srgbClr val="AEABAB"/>
              </a:solidFill>
            </c:spPr>
            <c:extLst>
              <c:ext xmlns:c16="http://schemas.microsoft.com/office/drawing/2014/chart" uri="{C3380CC4-5D6E-409C-BE32-E72D297353CC}">
                <c16:uniqueId val="{00000017-83E0-4716-877A-8084D4846F88}"/>
              </c:ext>
            </c:extLst>
          </c:dPt>
          <c:dPt>
            <c:idx val="12"/>
            <c:invertIfNegative val="1"/>
            <c:bubble3D val="0"/>
            <c:spPr>
              <a:solidFill>
                <a:srgbClr val="AEABAB"/>
              </a:solidFill>
            </c:spPr>
            <c:extLst>
              <c:ext xmlns:c16="http://schemas.microsoft.com/office/drawing/2014/chart" uri="{C3380CC4-5D6E-409C-BE32-E72D297353CC}">
                <c16:uniqueId val="{00000019-83E0-4716-877A-8084D4846F88}"/>
              </c:ext>
            </c:extLst>
          </c:dPt>
          <c:dPt>
            <c:idx val="13"/>
            <c:invertIfNegative val="1"/>
            <c:bubble3D val="0"/>
            <c:spPr>
              <a:solidFill>
                <a:srgbClr val="AEABAB"/>
              </a:solidFill>
            </c:spPr>
            <c:extLst>
              <c:ext xmlns:c16="http://schemas.microsoft.com/office/drawing/2014/chart" uri="{C3380CC4-5D6E-409C-BE32-E72D297353CC}">
                <c16:uniqueId val="{0000001B-83E0-4716-877A-8084D4846F88}"/>
              </c:ext>
            </c:extLst>
          </c:dPt>
          <c:dPt>
            <c:idx val="14"/>
            <c:invertIfNegative val="0"/>
            <c:bubble3D val="0"/>
            <c:extLst>
              <c:ext xmlns:c16="http://schemas.microsoft.com/office/drawing/2014/chart" uri="{C3380CC4-5D6E-409C-BE32-E72D297353CC}">
                <c16:uniqueId val="{0000001D-83E0-4716-877A-8084D4846F88}"/>
              </c:ext>
            </c:extLst>
          </c:dPt>
          <c:dPt>
            <c:idx val="15"/>
            <c:invertIfNegative val="1"/>
            <c:bubble3D val="0"/>
            <c:spPr>
              <a:solidFill>
                <a:srgbClr val="7ECAC4"/>
              </a:solidFill>
            </c:spPr>
            <c:extLst>
              <c:ext xmlns:c16="http://schemas.microsoft.com/office/drawing/2014/chart" uri="{C3380CC4-5D6E-409C-BE32-E72D297353CC}">
                <c16:uniqueId val="{0000001F-83E0-4716-877A-8084D4846F88}"/>
              </c:ext>
            </c:extLst>
          </c:dPt>
          <c:dPt>
            <c:idx val="16"/>
            <c:invertIfNegative val="1"/>
            <c:bubble3D val="0"/>
            <c:spPr>
              <a:solidFill>
                <a:srgbClr val="7ECAC4"/>
              </a:solidFill>
            </c:spPr>
            <c:extLst>
              <c:ext xmlns:c16="http://schemas.microsoft.com/office/drawing/2014/chart" uri="{C3380CC4-5D6E-409C-BE32-E72D297353CC}">
                <c16:uniqueId val="{00000021-83E0-4716-877A-8084D4846F88}"/>
              </c:ext>
            </c:extLst>
          </c:dPt>
          <c:dPt>
            <c:idx val="17"/>
            <c:invertIfNegative val="0"/>
            <c:bubble3D val="0"/>
            <c:extLst>
              <c:ext xmlns:c16="http://schemas.microsoft.com/office/drawing/2014/chart" uri="{C3380CC4-5D6E-409C-BE32-E72D297353CC}">
                <c16:uniqueId val="{00000023-83E0-4716-877A-8084D4846F88}"/>
              </c:ext>
            </c:extLst>
          </c:dPt>
          <c:dPt>
            <c:idx val="18"/>
            <c:invertIfNegative val="1"/>
            <c:bubble3D val="0"/>
            <c:spPr>
              <a:solidFill>
                <a:srgbClr val="AEABAB"/>
              </a:solidFill>
            </c:spPr>
            <c:extLst>
              <c:ext xmlns:c16="http://schemas.microsoft.com/office/drawing/2014/chart" uri="{C3380CC4-5D6E-409C-BE32-E72D297353CC}">
                <c16:uniqueId val="{00000025-83E0-4716-877A-8084D4846F88}"/>
              </c:ext>
            </c:extLst>
          </c:dPt>
          <c:dPt>
            <c:idx val="19"/>
            <c:invertIfNegative val="1"/>
            <c:bubble3D val="0"/>
            <c:spPr>
              <a:solidFill>
                <a:srgbClr val="AEABAB"/>
              </a:solidFill>
            </c:spPr>
            <c:extLst>
              <c:ext xmlns:c16="http://schemas.microsoft.com/office/drawing/2014/chart" uri="{C3380CC4-5D6E-409C-BE32-E72D297353CC}">
                <c16:uniqueId val="{00000027-83E0-4716-877A-8084D4846F88}"/>
              </c:ext>
            </c:extLst>
          </c:dPt>
          <c:dPt>
            <c:idx val="20"/>
            <c:invertIfNegative val="1"/>
            <c:bubble3D val="0"/>
            <c:spPr>
              <a:solidFill>
                <a:srgbClr val="AEABAB"/>
              </a:solidFill>
            </c:spPr>
            <c:extLst>
              <c:ext xmlns:c16="http://schemas.microsoft.com/office/drawing/2014/chart" uri="{C3380CC4-5D6E-409C-BE32-E72D297353CC}">
                <c16:uniqueId val="{00000029-83E0-4716-877A-8084D4846F88}"/>
              </c:ext>
            </c:extLst>
          </c:dPt>
          <c:dPt>
            <c:idx val="21"/>
            <c:invertIfNegative val="1"/>
            <c:bubble3D val="0"/>
            <c:spPr>
              <a:solidFill>
                <a:srgbClr val="7ECAC4"/>
              </a:solidFill>
            </c:spPr>
            <c:extLst>
              <c:ext xmlns:c16="http://schemas.microsoft.com/office/drawing/2014/chart" uri="{C3380CC4-5D6E-409C-BE32-E72D297353CC}">
                <c16:uniqueId val="{0000002B-83E0-4716-877A-8084D4846F88}"/>
              </c:ext>
            </c:extLst>
          </c:dPt>
          <c:dPt>
            <c:idx val="22"/>
            <c:invertIfNegative val="1"/>
            <c:bubble3D val="0"/>
            <c:spPr>
              <a:solidFill>
                <a:srgbClr val="AEABAB"/>
              </a:solidFill>
            </c:spPr>
            <c:extLst>
              <c:ext xmlns:c16="http://schemas.microsoft.com/office/drawing/2014/chart" uri="{C3380CC4-5D6E-409C-BE32-E72D297353CC}">
                <c16:uniqueId val="{0000002D-83E0-4716-877A-8084D4846F88}"/>
              </c:ext>
            </c:extLst>
          </c:dPt>
          <c:dPt>
            <c:idx val="23"/>
            <c:invertIfNegative val="1"/>
            <c:bubble3D val="0"/>
            <c:spPr>
              <a:solidFill>
                <a:srgbClr val="7ECAC4"/>
              </a:solidFill>
            </c:spPr>
            <c:extLst>
              <c:ext xmlns:c16="http://schemas.microsoft.com/office/drawing/2014/chart" uri="{C3380CC4-5D6E-409C-BE32-E72D297353CC}">
                <c16:uniqueId val="{0000002F-83E0-4716-877A-8084D4846F88}"/>
              </c:ext>
            </c:extLst>
          </c:dPt>
          <c:dPt>
            <c:idx val="24"/>
            <c:invertIfNegative val="1"/>
            <c:bubble3D val="0"/>
            <c:spPr>
              <a:solidFill>
                <a:srgbClr val="AEABAB"/>
              </a:solidFill>
            </c:spPr>
            <c:extLst>
              <c:ext xmlns:c16="http://schemas.microsoft.com/office/drawing/2014/chart" uri="{C3380CC4-5D6E-409C-BE32-E72D297353CC}">
                <c16:uniqueId val="{00000031-83E0-4716-877A-8084D4846F88}"/>
              </c:ext>
            </c:extLst>
          </c:dPt>
          <c:dPt>
            <c:idx val="25"/>
            <c:invertIfNegative val="1"/>
            <c:bubble3D val="0"/>
            <c:spPr>
              <a:solidFill>
                <a:srgbClr val="AEABAB"/>
              </a:solidFill>
            </c:spPr>
            <c:extLst>
              <c:ext xmlns:c16="http://schemas.microsoft.com/office/drawing/2014/chart" uri="{C3380CC4-5D6E-409C-BE32-E72D297353CC}">
                <c16:uniqueId val="{00000033-83E0-4716-877A-8084D4846F88}"/>
              </c:ext>
            </c:extLst>
          </c:dPt>
          <c:dPt>
            <c:idx val="26"/>
            <c:invertIfNegative val="1"/>
            <c:bubble3D val="0"/>
            <c:spPr>
              <a:solidFill>
                <a:srgbClr val="7ECAC4"/>
              </a:solidFill>
            </c:spPr>
            <c:extLst>
              <c:ext xmlns:c16="http://schemas.microsoft.com/office/drawing/2014/chart" uri="{C3380CC4-5D6E-409C-BE32-E72D297353CC}">
                <c16:uniqueId val="{00000035-83E0-4716-877A-8084D4846F88}"/>
              </c:ext>
            </c:extLst>
          </c:dPt>
          <c:dPt>
            <c:idx val="27"/>
            <c:invertIfNegative val="1"/>
            <c:bubble3D val="0"/>
            <c:spPr>
              <a:solidFill>
                <a:srgbClr val="AEABAB"/>
              </a:solidFill>
            </c:spPr>
            <c:extLst>
              <c:ext xmlns:c16="http://schemas.microsoft.com/office/drawing/2014/chart" uri="{C3380CC4-5D6E-409C-BE32-E72D297353CC}">
                <c16:uniqueId val="{00000037-83E0-4716-877A-8084D4846F88}"/>
              </c:ext>
            </c:extLst>
          </c:dPt>
          <c:dPt>
            <c:idx val="28"/>
            <c:invertIfNegative val="1"/>
            <c:bubble3D val="0"/>
            <c:spPr>
              <a:solidFill>
                <a:srgbClr val="AEABAB"/>
              </a:solidFill>
            </c:spPr>
            <c:extLst>
              <c:ext xmlns:c16="http://schemas.microsoft.com/office/drawing/2014/chart" uri="{C3380CC4-5D6E-409C-BE32-E72D297353CC}">
                <c16:uniqueId val="{00000039-83E0-4716-877A-8084D4846F88}"/>
              </c:ext>
            </c:extLst>
          </c:dPt>
          <c:dPt>
            <c:idx val="29"/>
            <c:invertIfNegative val="1"/>
            <c:bubble3D val="0"/>
            <c:spPr>
              <a:solidFill>
                <a:srgbClr val="7ECAC4"/>
              </a:solidFill>
            </c:spPr>
            <c:extLst>
              <c:ext xmlns:c16="http://schemas.microsoft.com/office/drawing/2014/chart" uri="{C3380CC4-5D6E-409C-BE32-E72D297353CC}">
                <c16:uniqueId val="{0000003B-83E0-4716-877A-8084D4846F88}"/>
              </c:ext>
            </c:extLst>
          </c:dPt>
          <c:dPt>
            <c:idx val="30"/>
            <c:invertIfNegative val="1"/>
            <c:bubble3D val="0"/>
            <c:spPr>
              <a:solidFill>
                <a:srgbClr val="AEABAB"/>
              </a:solidFill>
            </c:spPr>
            <c:extLst>
              <c:ext xmlns:c16="http://schemas.microsoft.com/office/drawing/2014/chart" uri="{C3380CC4-5D6E-409C-BE32-E72D297353CC}">
                <c16:uniqueId val="{0000003D-83E0-4716-877A-8084D4846F88}"/>
              </c:ext>
            </c:extLst>
          </c:dPt>
          <c:dPt>
            <c:idx val="31"/>
            <c:invertIfNegative val="1"/>
            <c:bubble3D val="0"/>
            <c:spPr>
              <a:solidFill>
                <a:srgbClr val="7ECAC4"/>
              </a:solidFill>
            </c:spPr>
            <c:extLst>
              <c:ext xmlns:c16="http://schemas.microsoft.com/office/drawing/2014/chart" uri="{C3380CC4-5D6E-409C-BE32-E72D297353CC}">
                <c16:uniqueId val="{0000003F-83E0-4716-877A-8084D4846F88}"/>
              </c:ext>
            </c:extLst>
          </c:dPt>
          <c:dPt>
            <c:idx val="32"/>
            <c:invertIfNegative val="0"/>
            <c:bubble3D val="0"/>
            <c:extLst>
              <c:ext xmlns:c16="http://schemas.microsoft.com/office/drawing/2014/chart" uri="{C3380CC4-5D6E-409C-BE32-E72D297353CC}">
                <c16:uniqueId val="{00000041-83E0-4716-877A-8084D4846F88}"/>
              </c:ext>
            </c:extLst>
          </c:dPt>
          <c:dPt>
            <c:idx val="33"/>
            <c:invertIfNegative val="1"/>
            <c:bubble3D val="0"/>
            <c:spPr>
              <a:solidFill>
                <a:srgbClr val="AEABAB"/>
              </a:solidFill>
            </c:spPr>
            <c:extLst>
              <c:ext xmlns:c16="http://schemas.microsoft.com/office/drawing/2014/chart" uri="{C3380CC4-5D6E-409C-BE32-E72D297353CC}">
                <c16:uniqueId val="{00000043-83E0-4716-877A-8084D4846F88}"/>
              </c:ext>
            </c:extLst>
          </c:dPt>
          <c:dPt>
            <c:idx val="34"/>
            <c:invertIfNegative val="1"/>
            <c:bubble3D val="0"/>
            <c:spPr>
              <a:solidFill>
                <a:srgbClr val="7ECAC4"/>
              </a:solidFill>
            </c:spPr>
            <c:extLst>
              <c:ext xmlns:c16="http://schemas.microsoft.com/office/drawing/2014/chart" uri="{C3380CC4-5D6E-409C-BE32-E72D297353CC}">
                <c16:uniqueId val="{00000045-83E0-4716-877A-8084D4846F88}"/>
              </c:ext>
            </c:extLst>
          </c:dPt>
          <c:dPt>
            <c:idx val="35"/>
            <c:invertIfNegative val="1"/>
            <c:bubble3D val="0"/>
            <c:spPr>
              <a:solidFill>
                <a:srgbClr val="AEABAB"/>
              </a:solidFill>
            </c:spPr>
            <c:extLst>
              <c:ext xmlns:c16="http://schemas.microsoft.com/office/drawing/2014/chart" uri="{C3380CC4-5D6E-409C-BE32-E72D297353CC}">
                <c16:uniqueId val="{00000047-83E0-4716-877A-8084D4846F88}"/>
              </c:ext>
            </c:extLst>
          </c:dPt>
          <c:dPt>
            <c:idx val="36"/>
            <c:invertIfNegative val="1"/>
            <c:bubble3D val="0"/>
            <c:spPr>
              <a:solidFill>
                <a:srgbClr val="AEABAB"/>
              </a:solidFill>
            </c:spPr>
            <c:extLst>
              <c:ext xmlns:c16="http://schemas.microsoft.com/office/drawing/2014/chart" uri="{C3380CC4-5D6E-409C-BE32-E72D297353CC}">
                <c16:uniqueId val="{00000049-83E0-4716-877A-8084D4846F88}"/>
              </c:ext>
            </c:extLst>
          </c:dPt>
          <c:dPt>
            <c:idx val="37"/>
            <c:invertIfNegative val="1"/>
            <c:bubble3D val="0"/>
            <c:spPr>
              <a:solidFill>
                <a:srgbClr val="AEABAB"/>
              </a:solidFill>
            </c:spPr>
            <c:extLst>
              <c:ext xmlns:c16="http://schemas.microsoft.com/office/drawing/2014/chart" uri="{C3380CC4-5D6E-409C-BE32-E72D297353CC}">
                <c16:uniqueId val="{0000004B-83E0-4716-877A-8084D4846F88}"/>
              </c:ext>
            </c:extLst>
          </c:dPt>
          <c:dPt>
            <c:idx val="38"/>
            <c:invertIfNegative val="1"/>
            <c:bubble3D val="0"/>
            <c:spPr>
              <a:solidFill>
                <a:srgbClr val="AEABAB"/>
              </a:solidFill>
            </c:spPr>
            <c:extLst>
              <c:ext xmlns:c16="http://schemas.microsoft.com/office/drawing/2014/chart" uri="{C3380CC4-5D6E-409C-BE32-E72D297353CC}">
                <c16:uniqueId val="{0000004D-83E0-4716-877A-8084D4846F88}"/>
              </c:ext>
            </c:extLst>
          </c:dPt>
          <c:dPt>
            <c:idx val="39"/>
            <c:invertIfNegative val="1"/>
            <c:bubble3D val="0"/>
            <c:spPr>
              <a:solidFill>
                <a:srgbClr val="AEABAB"/>
              </a:solidFill>
            </c:spPr>
            <c:extLst>
              <c:ext xmlns:c16="http://schemas.microsoft.com/office/drawing/2014/chart" uri="{C3380CC4-5D6E-409C-BE32-E72D297353CC}">
                <c16:uniqueId val="{0000004F-83E0-4716-877A-8084D4846F88}"/>
              </c:ext>
            </c:extLst>
          </c:dPt>
          <c:dPt>
            <c:idx val="40"/>
            <c:invertIfNegative val="1"/>
            <c:bubble3D val="0"/>
            <c:spPr>
              <a:solidFill>
                <a:srgbClr val="AEABAB"/>
              </a:solidFill>
            </c:spPr>
            <c:extLst>
              <c:ext xmlns:c16="http://schemas.microsoft.com/office/drawing/2014/chart" uri="{C3380CC4-5D6E-409C-BE32-E72D297353CC}">
                <c16:uniqueId val="{00000051-83E0-4716-877A-8084D4846F88}"/>
              </c:ext>
            </c:extLst>
          </c:dPt>
          <c:dPt>
            <c:idx val="41"/>
            <c:invertIfNegative val="1"/>
            <c:bubble3D val="0"/>
            <c:spPr>
              <a:solidFill>
                <a:srgbClr val="AEABAB"/>
              </a:solidFill>
            </c:spPr>
            <c:extLst>
              <c:ext xmlns:c16="http://schemas.microsoft.com/office/drawing/2014/chart" uri="{C3380CC4-5D6E-409C-BE32-E72D297353CC}">
                <c16:uniqueId val="{00000053-83E0-4716-877A-8084D4846F88}"/>
              </c:ext>
            </c:extLst>
          </c:dPt>
          <c:dPt>
            <c:idx val="42"/>
            <c:invertIfNegative val="1"/>
            <c:bubble3D val="0"/>
            <c:spPr>
              <a:solidFill>
                <a:srgbClr val="7ECAC4"/>
              </a:solidFill>
            </c:spPr>
            <c:extLst>
              <c:ext xmlns:c16="http://schemas.microsoft.com/office/drawing/2014/chart" uri="{C3380CC4-5D6E-409C-BE32-E72D297353CC}">
                <c16:uniqueId val="{00000055-83E0-4716-877A-8084D4846F88}"/>
              </c:ext>
            </c:extLst>
          </c:dPt>
          <c:dPt>
            <c:idx val="43"/>
            <c:invertIfNegative val="1"/>
            <c:bubble3D val="0"/>
            <c:spPr>
              <a:solidFill>
                <a:srgbClr val="AEABAB"/>
              </a:solidFill>
            </c:spPr>
            <c:extLst>
              <c:ext xmlns:c16="http://schemas.microsoft.com/office/drawing/2014/chart" uri="{C3380CC4-5D6E-409C-BE32-E72D297353CC}">
                <c16:uniqueId val="{00000057-83E0-4716-877A-8084D4846F88}"/>
              </c:ext>
            </c:extLst>
          </c:dPt>
          <c:dPt>
            <c:idx val="44"/>
            <c:invertIfNegative val="0"/>
            <c:bubble3D val="0"/>
            <c:extLst>
              <c:ext xmlns:c16="http://schemas.microsoft.com/office/drawing/2014/chart" uri="{C3380CC4-5D6E-409C-BE32-E72D297353CC}">
                <c16:uniqueId val="{00000059-83E0-4716-877A-8084D4846F88}"/>
              </c:ext>
            </c:extLst>
          </c:dPt>
          <c:dPt>
            <c:idx val="45"/>
            <c:invertIfNegative val="1"/>
            <c:bubble3D val="0"/>
            <c:spPr>
              <a:solidFill>
                <a:srgbClr val="7ECAC4"/>
              </a:solidFill>
            </c:spPr>
            <c:extLst>
              <c:ext xmlns:c16="http://schemas.microsoft.com/office/drawing/2014/chart" uri="{C3380CC4-5D6E-409C-BE32-E72D297353CC}">
                <c16:uniqueId val="{0000005B-83E0-4716-877A-8084D4846F88}"/>
              </c:ext>
            </c:extLst>
          </c:dPt>
          <c:dPt>
            <c:idx val="46"/>
            <c:invertIfNegative val="1"/>
            <c:bubble3D val="0"/>
            <c:spPr>
              <a:solidFill>
                <a:srgbClr val="AEABAB"/>
              </a:solidFill>
            </c:spPr>
            <c:extLst>
              <c:ext xmlns:c16="http://schemas.microsoft.com/office/drawing/2014/chart" uri="{C3380CC4-5D6E-409C-BE32-E72D297353CC}">
                <c16:uniqueId val="{0000005D-83E0-4716-877A-8084D4846F88}"/>
              </c:ext>
            </c:extLst>
          </c:dPt>
          <c:dPt>
            <c:idx val="47"/>
            <c:invertIfNegative val="1"/>
            <c:bubble3D val="0"/>
            <c:spPr>
              <a:solidFill>
                <a:srgbClr val="7ECAC4"/>
              </a:solidFill>
            </c:spPr>
            <c:extLst>
              <c:ext xmlns:c16="http://schemas.microsoft.com/office/drawing/2014/chart" uri="{C3380CC4-5D6E-409C-BE32-E72D297353CC}">
                <c16:uniqueId val="{0000005F-83E0-4716-877A-8084D4846F88}"/>
              </c:ext>
            </c:extLst>
          </c:dPt>
          <c:dPt>
            <c:idx val="48"/>
            <c:invertIfNegative val="1"/>
            <c:bubble3D val="0"/>
            <c:spPr>
              <a:solidFill>
                <a:srgbClr val="AEABAB"/>
              </a:solidFill>
            </c:spPr>
            <c:extLst>
              <c:ext xmlns:c16="http://schemas.microsoft.com/office/drawing/2014/chart" uri="{C3380CC4-5D6E-409C-BE32-E72D297353CC}">
                <c16:uniqueId val="{00000061-83E0-4716-877A-8084D4846F88}"/>
              </c:ext>
            </c:extLst>
          </c:dPt>
          <c:dPt>
            <c:idx val="49"/>
            <c:invertIfNegative val="0"/>
            <c:bubble3D val="0"/>
            <c:spPr>
              <a:solidFill>
                <a:srgbClr val="006C6D"/>
              </a:solidFill>
            </c:spPr>
            <c:extLst>
              <c:ext xmlns:c16="http://schemas.microsoft.com/office/drawing/2014/chart" uri="{C3380CC4-5D6E-409C-BE32-E72D297353CC}">
                <c16:uniqueId val="{00000063-83E0-4716-877A-8084D4846F88}"/>
              </c:ext>
            </c:extLst>
          </c:dPt>
          <c:dPt>
            <c:idx val="50"/>
            <c:invertIfNegative val="0"/>
            <c:bubble3D val="0"/>
            <c:extLst>
              <c:ext xmlns:c16="http://schemas.microsoft.com/office/drawing/2014/chart" uri="{C3380CC4-5D6E-409C-BE32-E72D297353CC}">
                <c16:uniqueId val="{00000065-83E0-4716-877A-8084D4846F88}"/>
              </c:ext>
            </c:extLst>
          </c:dPt>
          <c:dPt>
            <c:idx val="51"/>
            <c:invertIfNegative val="1"/>
            <c:bubble3D val="0"/>
            <c:spPr>
              <a:solidFill>
                <a:srgbClr val="7ECAC4"/>
              </a:solidFill>
            </c:spPr>
            <c:extLst>
              <c:ext xmlns:c16="http://schemas.microsoft.com/office/drawing/2014/chart" uri="{C3380CC4-5D6E-409C-BE32-E72D297353CC}">
                <c16:uniqueId val="{00000067-83E0-4716-877A-8084D4846F88}"/>
              </c:ext>
            </c:extLst>
          </c:dPt>
          <c:dPt>
            <c:idx val="52"/>
            <c:invertIfNegative val="1"/>
            <c:bubble3D val="0"/>
            <c:spPr>
              <a:solidFill>
                <a:srgbClr val="7ECAC4"/>
              </a:solidFill>
            </c:spPr>
            <c:extLst>
              <c:ext xmlns:c16="http://schemas.microsoft.com/office/drawing/2014/chart" uri="{C3380CC4-5D6E-409C-BE32-E72D297353CC}">
                <c16:uniqueId val="{00000069-83E0-4716-877A-8084D4846F88}"/>
              </c:ext>
            </c:extLst>
          </c:dPt>
          <c:dPt>
            <c:idx val="53"/>
            <c:invertIfNegative val="1"/>
            <c:bubble3D val="0"/>
            <c:spPr>
              <a:solidFill>
                <a:srgbClr val="7ECAC4"/>
              </a:solidFill>
            </c:spPr>
            <c:extLst>
              <c:ext xmlns:c16="http://schemas.microsoft.com/office/drawing/2014/chart" uri="{C3380CC4-5D6E-409C-BE32-E72D297353CC}">
                <c16:uniqueId val="{0000006B-83E0-4716-877A-8084D4846F88}"/>
              </c:ext>
            </c:extLst>
          </c:dPt>
          <c:dPt>
            <c:idx val="54"/>
            <c:invertIfNegative val="1"/>
            <c:bubble3D val="0"/>
            <c:spPr>
              <a:solidFill>
                <a:srgbClr val="AEABAB"/>
              </a:solidFill>
            </c:spPr>
            <c:extLst>
              <c:ext xmlns:c16="http://schemas.microsoft.com/office/drawing/2014/chart" uri="{C3380CC4-5D6E-409C-BE32-E72D297353CC}">
                <c16:uniqueId val="{0000006D-83E0-4716-877A-8084D4846F88}"/>
              </c:ext>
            </c:extLst>
          </c:dPt>
          <c:dPt>
            <c:idx val="55"/>
            <c:invertIfNegative val="1"/>
            <c:bubble3D val="0"/>
            <c:spPr>
              <a:solidFill>
                <a:srgbClr val="7ECAC4"/>
              </a:solidFill>
            </c:spPr>
            <c:extLst>
              <c:ext xmlns:c16="http://schemas.microsoft.com/office/drawing/2014/chart" uri="{C3380CC4-5D6E-409C-BE32-E72D297353CC}">
                <c16:uniqueId val="{0000006F-83E0-4716-877A-8084D4846F88}"/>
              </c:ext>
            </c:extLst>
          </c:dPt>
          <c:dPt>
            <c:idx val="56"/>
            <c:invertIfNegative val="1"/>
            <c:bubble3D val="0"/>
            <c:spPr>
              <a:solidFill>
                <a:srgbClr val="AEABAB"/>
              </a:solidFill>
            </c:spPr>
            <c:extLst>
              <c:ext xmlns:c16="http://schemas.microsoft.com/office/drawing/2014/chart" uri="{C3380CC4-5D6E-409C-BE32-E72D297353CC}">
                <c16:uniqueId val="{00000071-83E0-4716-877A-8084D4846F88}"/>
              </c:ext>
            </c:extLst>
          </c:dPt>
          <c:dPt>
            <c:idx val="57"/>
            <c:invertIfNegative val="1"/>
            <c:bubble3D val="0"/>
            <c:spPr>
              <a:solidFill>
                <a:srgbClr val="AEABAB"/>
              </a:solidFill>
            </c:spPr>
            <c:extLst>
              <c:ext xmlns:c16="http://schemas.microsoft.com/office/drawing/2014/chart" uri="{C3380CC4-5D6E-409C-BE32-E72D297353CC}">
                <c16:uniqueId val="{00000073-83E0-4716-877A-8084D4846F88}"/>
              </c:ext>
            </c:extLst>
          </c:dPt>
          <c:dPt>
            <c:idx val="58"/>
            <c:invertIfNegative val="1"/>
            <c:bubble3D val="0"/>
            <c:spPr>
              <a:solidFill>
                <a:srgbClr val="AEABAB"/>
              </a:solidFill>
            </c:spPr>
            <c:extLst>
              <c:ext xmlns:c16="http://schemas.microsoft.com/office/drawing/2014/chart" uri="{C3380CC4-5D6E-409C-BE32-E72D297353CC}">
                <c16:uniqueId val="{00000075-83E0-4716-877A-8084D4846F88}"/>
              </c:ext>
            </c:extLst>
          </c:dPt>
          <c:dPt>
            <c:idx val="59"/>
            <c:invertIfNegative val="1"/>
            <c:bubble3D val="0"/>
            <c:spPr>
              <a:solidFill>
                <a:srgbClr val="AEABAB"/>
              </a:solidFill>
            </c:spPr>
            <c:extLst>
              <c:ext xmlns:c16="http://schemas.microsoft.com/office/drawing/2014/chart" uri="{C3380CC4-5D6E-409C-BE32-E72D297353CC}">
                <c16:uniqueId val="{00000077-83E0-4716-877A-8084D4846F88}"/>
              </c:ext>
            </c:extLst>
          </c:dPt>
          <c:dPt>
            <c:idx val="60"/>
            <c:invertIfNegative val="1"/>
            <c:bubble3D val="0"/>
            <c:spPr>
              <a:solidFill>
                <a:srgbClr val="7ECAC4"/>
              </a:solidFill>
            </c:spPr>
            <c:extLst>
              <c:ext xmlns:c16="http://schemas.microsoft.com/office/drawing/2014/chart" uri="{C3380CC4-5D6E-409C-BE32-E72D297353CC}">
                <c16:uniqueId val="{00000079-83E0-4716-877A-8084D4846F88}"/>
              </c:ext>
            </c:extLst>
          </c:dPt>
          <c:dPt>
            <c:idx val="61"/>
            <c:invertIfNegative val="1"/>
            <c:bubble3D val="0"/>
            <c:spPr>
              <a:solidFill>
                <a:srgbClr val="AEABAB"/>
              </a:solidFill>
            </c:spPr>
            <c:extLst>
              <c:ext xmlns:c16="http://schemas.microsoft.com/office/drawing/2014/chart" uri="{C3380CC4-5D6E-409C-BE32-E72D297353CC}">
                <c16:uniqueId val="{0000007B-83E0-4716-877A-8084D4846F88}"/>
              </c:ext>
            </c:extLst>
          </c:dPt>
          <c:dPt>
            <c:idx val="62"/>
            <c:invertIfNegative val="1"/>
            <c:bubble3D val="0"/>
            <c:spPr>
              <a:solidFill>
                <a:srgbClr val="AEABAB"/>
              </a:solidFill>
            </c:spPr>
            <c:extLst>
              <c:ext xmlns:c16="http://schemas.microsoft.com/office/drawing/2014/chart" uri="{C3380CC4-5D6E-409C-BE32-E72D297353CC}">
                <c16:uniqueId val="{0000007D-83E0-4716-877A-8084D4846F88}"/>
              </c:ext>
            </c:extLst>
          </c:dPt>
          <c:dPt>
            <c:idx val="63"/>
            <c:invertIfNegative val="1"/>
            <c:bubble3D val="0"/>
            <c:spPr>
              <a:solidFill>
                <a:srgbClr val="AEABAB"/>
              </a:solidFill>
            </c:spPr>
            <c:extLst>
              <c:ext xmlns:c16="http://schemas.microsoft.com/office/drawing/2014/chart" uri="{C3380CC4-5D6E-409C-BE32-E72D297353CC}">
                <c16:uniqueId val="{0000007F-83E0-4716-877A-8084D4846F88}"/>
              </c:ext>
            </c:extLst>
          </c:dPt>
          <c:dPt>
            <c:idx val="64"/>
            <c:invertIfNegative val="1"/>
            <c:bubble3D val="0"/>
            <c:spPr>
              <a:solidFill>
                <a:srgbClr val="AEABAB"/>
              </a:solidFill>
            </c:spPr>
            <c:extLst>
              <c:ext xmlns:c16="http://schemas.microsoft.com/office/drawing/2014/chart" uri="{C3380CC4-5D6E-409C-BE32-E72D297353CC}">
                <c16:uniqueId val="{00000081-83E0-4716-877A-8084D4846F88}"/>
              </c:ext>
            </c:extLst>
          </c:dPt>
          <c:dPt>
            <c:idx val="65"/>
            <c:invertIfNegative val="1"/>
            <c:bubble3D val="0"/>
            <c:spPr>
              <a:solidFill>
                <a:srgbClr val="AEABAB"/>
              </a:solidFill>
            </c:spPr>
            <c:extLst>
              <c:ext xmlns:c16="http://schemas.microsoft.com/office/drawing/2014/chart" uri="{C3380CC4-5D6E-409C-BE32-E72D297353CC}">
                <c16:uniqueId val="{00000083-83E0-4716-877A-8084D4846F88}"/>
              </c:ext>
            </c:extLst>
          </c:dPt>
          <c:dPt>
            <c:idx val="66"/>
            <c:invertIfNegative val="1"/>
            <c:bubble3D val="0"/>
            <c:spPr>
              <a:solidFill>
                <a:srgbClr val="AEABAB"/>
              </a:solidFill>
            </c:spPr>
            <c:extLst>
              <c:ext xmlns:c16="http://schemas.microsoft.com/office/drawing/2014/chart" uri="{C3380CC4-5D6E-409C-BE32-E72D297353CC}">
                <c16:uniqueId val="{00000085-83E0-4716-877A-8084D4846F88}"/>
              </c:ext>
            </c:extLst>
          </c:dPt>
          <c:dPt>
            <c:idx val="67"/>
            <c:invertIfNegative val="1"/>
            <c:bubble3D val="0"/>
            <c:spPr>
              <a:solidFill>
                <a:srgbClr val="AEABAB"/>
              </a:solidFill>
            </c:spPr>
            <c:extLst>
              <c:ext xmlns:c16="http://schemas.microsoft.com/office/drawing/2014/chart" uri="{C3380CC4-5D6E-409C-BE32-E72D297353CC}">
                <c16:uniqueId val="{00000087-83E0-4716-877A-8084D4846F88}"/>
              </c:ext>
            </c:extLst>
          </c:dPt>
          <c:dPt>
            <c:idx val="68"/>
            <c:invertIfNegative val="1"/>
            <c:bubble3D val="0"/>
            <c:spPr>
              <a:solidFill>
                <a:srgbClr val="AEABAB"/>
              </a:solidFill>
            </c:spPr>
            <c:extLst>
              <c:ext xmlns:c16="http://schemas.microsoft.com/office/drawing/2014/chart" uri="{C3380CC4-5D6E-409C-BE32-E72D297353CC}">
                <c16:uniqueId val="{00000089-83E0-4716-877A-8084D4846F88}"/>
              </c:ext>
            </c:extLst>
          </c:dPt>
          <c:dPt>
            <c:idx val="69"/>
            <c:invertIfNegative val="1"/>
            <c:bubble3D val="0"/>
            <c:spPr>
              <a:solidFill>
                <a:srgbClr val="AEABAB"/>
              </a:solidFill>
            </c:spPr>
            <c:extLst>
              <c:ext xmlns:c16="http://schemas.microsoft.com/office/drawing/2014/chart" uri="{C3380CC4-5D6E-409C-BE32-E72D297353CC}">
                <c16:uniqueId val="{0000008B-83E0-4716-877A-8084D4846F88}"/>
              </c:ext>
            </c:extLst>
          </c:dPt>
          <c:dPt>
            <c:idx val="70"/>
            <c:invertIfNegative val="1"/>
            <c:bubble3D val="0"/>
            <c:spPr>
              <a:solidFill>
                <a:srgbClr val="AEABAB"/>
              </a:solidFill>
            </c:spPr>
            <c:extLst>
              <c:ext xmlns:c16="http://schemas.microsoft.com/office/drawing/2014/chart" uri="{C3380CC4-5D6E-409C-BE32-E72D297353CC}">
                <c16:uniqueId val="{0000008D-83E0-4716-877A-8084D4846F88}"/>
              </c:ext>
            </c:extLst>
          </c:dPt>
          <c:dPt>
            <c:idx val="71"/>
            <c:invertIfNegative val="1"/>
            <c:bubble3D val="0"/>
            <c:spPr>
              <a:solidFill>
                <a:srgbClr val="AEABAB"/>
              </a:solidFill>
            </c:spPr>
            <c:extLst>
              <c:ext xmlns:c16="http://schemas.microsoft.com/office/drawing/2014/chart" uri="{C3380CC4-5D6E-409C-BE32-E72D297353CC}">
                <c16:uniqueId val="{0000008F-83E0-4716-877A-8084D4846F88}"/>
              </c:ext>
            </c:extLst>
          </c:dPt>
          <c:dPt>
            <c:idx val="72"/>
            <c:invertIfNegative val="1"/>
            <c:bubble3D val="0"/>
            <c:spPr>
              <a:solidFill>
                <a:srgbClr val="AEABAB"/>
              </a:solidFill>
            </c:spPr>
            <c:extLst>
              <c:ext xmlns:c16="http://schemas.microsoft.com/office/drawing/2014/chart" uri="{C3380CC4-5D6E-409C-BE32-E72D297353CC}">
                <c16:uniqueId val="{00000091-83E0-4716-877A-8084D4846F88}"/>
              </c:ext>
            </c:extLst>
          </c:dPt>
          <c:dPt>
            <c:idx val="73"/>
            <c:invertIfNegative val="1"/>
            <c:bubble3D val="0"/>
            <c:spPr>
              <a:solidFill>
                <a:srgbClr val="AEABAB"/>
              </a:solidFill>
            </c:spPr>
            <c:extLst>
              <c:ext xmlns:c16="http://schemas.microsoft.com/office/drawing/2014/chart" uri="{C3380CC4-5D6E-409C-BE32-E72D297353CC}">
                <c16:uniqueId val="{00000093-83E0-4716-877A-8084D4846F88}"/>
              </c:ext>
            </c:extLst>
          </c:dPt>
          <c:dPt>
            <c:idx val="74"/>
            <c:invertIfNegative val="1"/>
            <c:bubble3D val="0"/>
            <c:spPr>
              <a:solidFill>
                <a:srgbClr val="AEABAB"/>
              </a:solidFill>
            </c:spPr>
            <c:extLst>
              <c:ext xmlns:c16="http://schemas.microsoft.com/office/drawing/2014/chart" uri="{C3380CC4-5D6E-409C-BE32-E72D297353CC}">
                <c16:uniqueId val="{00000095-83E0-4716-877A-8084D4846F88}"/>
              </c:ext>
            </c:extLst>
          </c:dPt>
          <c:dPt>
            <c:idx val="75"/>
            <c:invertIfNegative val="1"/>
            <c:bubble3D val="0"/>
            <c:spPr>
              <a:solidFill>
                <a:srgbClr val="AEABAB"/>
              </a:solidFill>
            </c:spPr>
            <c:extLst>
              <c:ext xmlns:c16="http://schemas.microsoft.com/office/drawing/2014/chart" uri="{C3380CC4-5D6E-409C-BE32-E72D297353CC}">
                <c16:uniqueId val="{00000097-83E0-4716-877A-8084D4846F88}"/>
              </c:ext>
            </c:extLst>
          </c:dPt>
          <c:dPt>
            <c:idx val="76"/>
            <c:invertIfNegative val="1"/>
            <c:bubble3D val="0"/>
            <c:spPr>
              <a:solidFill>
                <a:srgbClr val="AEABAB"/>
              </a:solidFill>
            </c:spPr>
            <c:extLst>
              <c:ext xmlns:c16="http://schemas.microsoft.com/office/drawing/2014/chart" uri="{C3380CC4-5D6E-409C-BE32-E72D297353CC}">
                <c16:uniqueId val="{00000099-83E0-4716-877A-8084D4846F88}"/>
              </c:ext>
            </c:extLst>
          </c:dPt>
          <c:dPt>
            <c:idx val="77"/>
            <c:invertIfNegative val="1"/>
            <c:bubble3D val="0"/>
            <c:spPr>
              <a:solidFill>
                <a:srgbClr val="AEABAB"/>
              </a:solidFill>
            </c:spPr>
            <c:extLst>
              <c:ext xmlns:c16="http://schemas.microsoft.com/office/drawing/2014/chart" uri="{C3380CC4-5D6E-409C-BE32-E72D297353CC}">
                <c16:uniqueId val="{0000009B-83E0-4716-877A-8084D4846F88}"/>
              </c:ext>
            </c:extLst>
          </c:dPt>
          <c:dPt>
            <c:idx val="78"/>
            <c:invertIfNegative val="1"/>
            <c:bubble3D val="0"/>
            <c:spPr>
              <a:solidFill>
                <a:srgbClr val="AEABAB"/>
              </a:solidFill>
            </c:spPr>
            <c:extLst>
              <c:ext xmlns:c16="http://schemas.microsoft.com/office/drawing/2014/chart" uri="{C3380CC4-5D6E-409C-BE32-E72D297353CC}">
                <c16:uniqueId val="{0000009D-83E0-4716-877A-8084D4846F88}"/>
              </c:ext>
            </c:extLst>
          </c:dPt>
          <c:dPt>
            <c:idx val="79"/>
            <c:invertIfNegative val="1"/>
            <c:bubble3D val="0"/>
            <c:spPr>
              <a:solidFill>
                <a:srgbClr val="AEABAB"/>
              </a:solidFill>
            </c:spPr>
            <c:extLst>
              <c:ext xmlns:c16="http://schemas.microsoft.com/office/drawing/2014/chart" uri="{C3380CC4-5D6E-409C-BE32-E72D297353CC}">
                <c16:uniqueId val="{0000009F-83E0-4716-877A-8084D4846F88}"/>
              </c:ext>
            </c:extLst>
          </c:dPt>
          <c:dPt>
            <c:idx val="80"/>
            <c:invertIfNegative val="1"/>
            <c:bubble3D val="0"/>
            <c:spPr>
              <a:solidFill>
                <a:srgbClr val="AEABAB"/>
              </a:solidFill>
            </c:spPr>
            <c:extLst>
              <c:ext xmlns:c16="http://schemas.microsoft.com/office/drawing/2014/chart" uri="{C3380CC4-5D6E-409C-BE32-E72D297353CC}">
                <c16:uniqueId val="{000000A1-83E0-4716-877A-8084D4846F88}"/>
              </c:ext>
            </c:extLst>
          </c:dPt>
          <c:dPt>
            <c:idx val="81"/>
            <c:invertIfNegative val="1"/>
            <c:bubble3D val="0"/>
            <c:spPr>
              <a:solidFill>
                <a:srgbClr val="AEABAB"/>
              </a:solidFill>
            </c:spPr>
            <c:extLst>
              <c:ext xmlns:c16="http://schemas.microsoft.com/office/drawing/2014/chart" uri="{C3380CC4-5D6E-409C-BE32-E72D297353CC}">
                <c16:uniqueId val="{000000A3-83E0-4716-877A-8084D4846F88}"/>
              </c:ext>
            </c:extLst>
          </c:dPt>
          <c:dPt>
            <c:idx val="82"/>
            <c:invertIfNegative val="1"/>
            <c:bubble3D val="0"/>
            <c:spPr>
              <a:solidFill>
                <a:srgbClr val="AEABAB"/>
              </a:solidFill>
            </c:spPr>
            <c:extLst>
              <c:ext xmlns:c16="http://schemas.microsoft.com/office/drawing/2014/chart" uri="{C3380CC4-5D6E-409C-BE32-E72D297353CC}">
                <c16:uniqueId val="{000000A5-83E0-4716-877A-8084D4846F88}"/>
              </c:ext>
            </c:extLst>
          </c:dPt>
          <c:dPt>
            <c:idx val="83"/>
            <c:invertIfNegative val="1"/>
            <c:bubble3D val="0"/>
            <c:spPr>
              <a:solidFill>
                <a:srgbClr val="AEABAB"/>
              </a:solidFill>
            </c:spPr>
            <c:extLst>
              <c:ext xmlns:c16="http://schemas.microsoft.com/office/drawing/2014/chart" uri="{C3380CC4-5D6E-409C-BE32-E72D297353CC}">
                <c16:uniqueId val="{000000A7-83E0-4716-877A-8084D4846F88}"/>
              </c:ext>
            </c:extLst>
          </c:dPt>
          <c:dPt>
            <c:idx val="84"/>
            <c:invertIfNegative val="1"/>
            <c:bubble3D val="0"/>
            <c:spPr>
              <a:solidFill>
                <a:srgbClr val="AEABAB"/>
              </a:solidFill>
            </c:spPr>
            <c:extLst>
              <c:ext xmlns:c16="http://schemas.microsoft.com/office/drawing/2014/chart" uri="{C3380CC4-5D6E-409C-BE32-E72D297353CC}">
                <c16:uniqueId val="{000000A9-83E0-4716-877A-8084D4846F88}"/>
              </c:ext>
            </c:extLst>
          </c:dPt>
          <c:dPt>
            <c:idx val="85"/>
            <c:invertIfNegative val="1"/>
            <c:bubble3D val="0"/>
            <c:spPr>
              <a:solidFill>
                <a:srgbClr val="AEABAB"/>
              </a:solidFill>
            </c:spPr>
            <c:extLst>
              <c:ext xmlns:c16="http://schemas.microsoft.com/office/drawing/2014/chart" uri="{C3380CC4-5D6E-409C-BE32-E72D297353CC}">
                <c16:uniqueId val="{000000AB-83E0-4716-877A-8084D4846F88}"/>
              </c:ext>
            </c:extLst>
          </c:dPt>
          <c:dPt>
            <c:idx val="86"/>
            <c:invertIfNegative val="1"/>
            <c:bubble3D val="0"/>
            <c:spPr>
              <a:solidFill>
                <a:srgbClr val="AEABAB"/>
              </a:solidFill>
            </c:spPr>
            <c:extLst>
              <c:ext xmlns:c16="http://schemas.microsoft.com/office/drawing/2014/chart" uri="{C3380CC4-5D6E-409C-BE32-E72D297353CC}">
                <c16:uniqueId val="{000000AD-83E0-4716-877A-8084D4846F88}"/>
              </c:ext>
            </c:extLst>
          </c:dPt>
          <c:dPt>
            <c:idx val="87"/>
            <c:invertIfNegative val="1"/>
            <c:bubble3D val="0"/>
            <c:spPr>
              <a:solidFill>
                <a:srgbClr val="AEABAB"/>
              </a:solidFill>
            </c:spPr>
            <c:extLst>
              <c:ext xmlns:c16="http://schemas.microsoft.com/office/drawing/2014/chart" uri="{C3380CC4-5D6E-409C-BE32-E72D297353CC}">
                <c16:uniqueId val="{000000AF-83E0-4716-877A-8084D4846F88}"/>
              </c:ext>
            </c:extLst>
          </c:dPt>
          <c:dPt>
            <c:idx val="88"/>
            <c:invertIfNegative val="1"/>
            <c:bubble3D val="0"/>
            <c:spPr>
              <a:solidFill>
                <a:srgbClr val="AEABAB"/>
              </a:solidFill>
            </c:spPr>
            <c:extLst>
              <c:ext xmlns:c16="http://schemas.microsoft.com/office/drawing/2014/chart" uri="{C3380CC4-5D6E-409C-BE32-E72D297353CC}">
                <c16:uniqueId val="{000000B1-83E0-4716-877A-8084D4846F88}"/>
              </c:ext>
            </c:extLst>
          </c:dPt>
          <c:dPt>
            <c:idx val="89"/>
            <c:invertIfNegative val="1"/>
            <c:bubble3D val="0"/>
            <c:spPr>
              <a:solidFill>
                <a:srgbClr val="AEABAB"/>
              </a:solidFill>
            </c:spPr>
            <c:extLst>
              <c:ext xmlns:c16="http://schemas.microsoft.com/office/drawing/2014/chart" uri="{C3380CC4-5D6E-409C-BE32-E72D297353CC}">
                <c16:uniqueId val="{000000B3-83E0-4716-877A-8084D4846F88}"/>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3E0-4716-877A-8084D4846F88}"/>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3E0-4716-877A-8084D4846F88}"/>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3E0-4716-877A-8084D4846F88}"/>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3E0-4716-877A-8084D4846F88}"/>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3E0-4716-877A-8084D4846F88}"/>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3E0-4716-877A-8084D4846F88}"/>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3E0-4716-877A-8084D4846F88}"/>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3E0-4716-877A-8084D4846F88}"/>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83E0-4716-877A-8084D4846F88}"/>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83E0-4716-877A-8084D4846F88}"/>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83E0-4716-877A-8084D4846F88}"/>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83E0-4716-877A-8084D4846F88}"/>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83E0-4716-877A-8084D4846F88}"/>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3E0-4716-877A-8084D4846F88}"/>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3E0-4716-877A-8084D4846F88}"/>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3E0-4716-877A-8084D4846F88}"/>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3E0-4716-877A-8084D4846F88}"/>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3E0-4716-877A-8084D4846F88}"/>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83E0-4716-877A-8084D4846F88}"/>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83E0-4716-877A-8084D4846F88}"/>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3E0-4716-877A-8084D4846F88}"/>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83E0-4716-877A-8084D4846F88}"/>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83E0-4716-877A-8084D4846F88}"/>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83E0-4716-877A-8084D4846F88}"/>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83E0-4716-877A-8084D4846F88}"/>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83E0-4716-877A-8084D4846F88}"/>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83E0-4716-877A-8084D4846F88}"/>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83E0-4716-877A-8084D4846F88}"/>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83E0-4716-877A-8084D4846F88}"/>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83E0-4716-877A-8084D4846F88}"/>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83E0-4716-877A-8084D4846F88}"/>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83E0-4716-877A-8084D4846F88}"/>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83E0-4716-877A-8084D4846F88}"/>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83E0-4716-877A-8084D4846F88}"/>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83E0-4716-877A-8084D4846F88}"/>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83E0-4716-877A-8084D4846F88}"/>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83E0-4716-877A-8084D4846F88}"/>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83E0-4716-877A-8084D4846F88}"/>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83E0-4716-877A-8084D4846F88}"/>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83E0-4716-877A-8084D4846F88}"/>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83E0-4716-877A-8084D4846F88}"/>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83E0-4716-877A-8084D4846F88}"/>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83E0-4716-877A-8084D4846F88}"/>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83E0-4716-877A-8084D4846F88}"/>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83E0-4716-877A-8084D4846F88}"/>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83E0-4716-877A-8084D4846F88}"/>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83E0-4716-877A-8084D4846F88}"/>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83E0-4716-877A-8084D4846F88}"/>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83E0-4716-877A-8084D4846F88}"/>
                </c:ext>
              </c:extLst>
            </c:dLbl>
            <c:dLbl>
              <c:idx val="49"/>
              <c:tx>
                <c:rich>
                  <a:bodyPr/>
                  <a:lstStyle/>
                  <a:p>
                    <a:r>
                      <a:rPr sz="500">
                        <a:solidFill>
                          <a:srgbClr val="006C6D"/>
                        </a:solidFill>
                      </a:rPr>
                      <a:t>Schick Hydro 5 Ultimate Comfort Disposable Razors 3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83E0-4716-877A-8084D4846F88}"/>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83E0-4716-877A-8084D4846F88}"/>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83E0-4716-877A-8084D4846F88}"/>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83E0-4716-877A-8084D4846F88}"/>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83E0-4716-877A-8084D4846F88}"/>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83E0-4716-877A-8084D4846F88}"/>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83E0-4716-877A-8084D4846F88}"/>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83E0-4716-877A-8084D4846F88}"/>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83E0-4716-877A-8084D4846F88}"/>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83E0-4716-877A-8084D4846F88}"/>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83E0-4716-877A-8084D4846F88}"/>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83E0-4716-877A-8084D4846F88}"/>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83E0-4716-877A-8084D4846F88}"/>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83E0-4716-877A-8084D4846F88}"/>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83E0-4716-877A-8084D4846F88}"/>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83E0-4716-877A-8084D4846F88}"/>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83E0-4716-877A-8084D4846F88}"/>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83E0-4716-877A-8084D4846F88}"/>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83E0-4716-877A-8084D4846F88}"/>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83E0-4716-877A-8084D4846F88}"/>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83E0-4716-877A-8084D4846F88}"/>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83E0-4716-877A-8084D4846F88}"/>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83E0-4716-877A-8084D4846F88}"/>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83E0-4716-877A-8084D4846F88}"/>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83E0-4716-877A-8084D4846F88}"/>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83E0-4716-877A-8084D4846F88}"/>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83E0-4716-877A-8084D4846F88}"/>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83E0-4716-877A-8084D4846F88}"/>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83E0-4716-877A-8084D4846F88}"/>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83E0-4716-877A-8084D4846F88}"/>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83E0-4716-877A-8084D4846F88}"/>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83E0-4716-877A-8084D4846F88}"/>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83E0-4716-877A-8084D4846F88}"/>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83E0-4716-877A-8084D4846F88}"/>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83E0-4716-877A-8084D4846F88}"/>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83E0-4716-877A-8084D4846F88}"/>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83E0-4716-877A-8084D4846F88}"/>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83E0-4716-877A-8084D4846F88}"/>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83E0-4716-877A-8084D4846F88}"/>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83E0-4716-877A-8084D4846F88}"/>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2 Sensitive Disposable Razors 12 Pack</c:v>
                </c:pt>
                <c:pt idx="22">
                  <c:v>Gillette Mach 3 1 Handle + 2 Cartridges</c:v>
                </c:pt>
                <c:pt idx="23">
                  <c:v>Schick Xtreme 3 Sensitive Disposable Razors 4 Pack</c:v>
                </c:pt>
                <c:pt idx="24">
                  <c:v>Harry's 5 Blade 1 Handle + 5 Cartridges</c:v>
                </c:pt>
                <c:pt idx="25">
                  <c:v>Gillette Sensor 3 Sensitive Disposable Razors 4 Pack</c:v>
                </c:pt>
                <c:pt idx="26">
                  <c:v>Equate Speed 3 Disposable Razors 4 Pack</c:v>
                </c:pt>
                <c:pt idx="27">
                  <c:v>Bic 3 Sensitive Disposable Razors 5 Pack</c:v>
                </c:pt>
                <c:pt idx="28">
                  <c:v>Gillette Mach 3 Sensitive Skin Disposable Razors 3 Pack</c:v>
                </c:pt>
                <c:pt idx="29">
                  <c:v>Equate Easy Fit 5 Blade Refills 8 Pack</c:v>
                </c:pt>
                <c:pt idx="30">
                  <c:v>Gillette Sensor 2 Pivot Head Disposable Razors 12 Pack</c:v>
                </c:pt>
                <c:pt idx="31">
                  <c:v>Equate Caliber 5 Disposable Razors 3 Pack</c:v>
                </c:pt>
                <c:pt idx="32">
                  <c:v>Gillette Sensor 2 Plus Disposable Razors 10 Pack</c:v>
                </c:pt>
                <c:pt idx="33">
                  <c:v>Dollar Shave Club 6 1 Handle + 2 Blades</c:v>
                </c:pt>
                <c:pt idx="34">
                  <c:v>Equate Speed 3 Disposable Razors 8 Pack</c:v>
                </c:pt>
                <c:pt idx="35">
                  <c:v>Gillette Sensor 3 Disposable Razors 12 Pack</c:v>
                </c:pt>
                <c:pt idx="36">
                  <c:v>Bic Comfort 3 Sensitive Skin Disposable Razors 4 Pack</c:v>
                </c:pt>
                <c:pt idx="37">
                  <c:v>Gillette Fusion 5 1 Handle + 5 Cartridges</c:v>
                </c:pt>
                <c:pt idx="38">
                  <c:v>Gillette Fusion 5 1 Handle + 7 Cartridges</c:v>
                </c:pt>
                <c:pt idx="39">
                  <c:v>Gillette Sensor 3 Sensitive Disposable Razors 8 Pack</c:v>
                </c:pt>
                <c:pt idx="40">
                  <c:v>Dollar Shave Club 6 Blades Blade Refills 8 Pack</c:v>
                </c:pt>
                <c:pt idx="41">
                  <c:v>Gillette Mach 3 1 Handle + 6 Cartridges</c:v>
                </c:pt>
                <c:pt idx="42">
                  <c:v>Schick Hydro 5 Blade Sensitive 1 Handle + 3 Cartridges</c:v>
                </c:pt>
                <c:pt idx="43">
                  <c:v>Gillette Sensor 3 Sensitive Disposable Razors 12 Pack</c:v>
                </c:pt>
                <c:pt idx="44">
                  <c:v>Gillette Fusion 5 1 Handle + 3 Cartridges Holiday Pack</c:v>
                </c:pt>
                <c:pt idx="45">
                  <c:v>Schick Xtreme 3 Sensitive Disposable Razors 8 Pack</c:v>
                </c:pt>
                <c:pt idx="46">
                  <c:v>Bic Flex 4 Sensitive Skin Disposable Razors 3 Pack</c:v>
                </c:pt>
                <c:pt idx="47">
                  <c:v>Schick Hydro 3 Blade Ultra Sensitive 1 Handle + 4 Cartridges</c:v>
                </c:pt>
                <c:pt idx="48">
                  <c:v>Gillette Fusion 5 Proglide 1 Handle + 4 Cartridges</c:v>
                </c:pt>
                <c:pt idx="49">
                  <c:v>Schick Hydro 5 Ultimate Comfort Disposable Razors 3 Pack</c:v>
                </c:pt>
                <c:pt idx="50">
                  <c:v>Gillette Sensor 3 Disposable Razors 8 Pack</c:v>
                </c:pt>
                <c:pt idx="51">
                  <c:v>Equate Caliber 3 Disposable Razors 3 Pack</c:v>
                </c:pt>
                <c:pt idx="52">
                  <c:v>Equate Easy Fit 5 Blade Refills 12 Pack</c:v>
                </c:pt>
                <c:pt idx="53">
                  <c:v>Schick Hydro 5 Blade Sensitive Refills 12 Pack</c:v>
                </c:pt>
                <c:pt idx="54">
                  <c:v>Bic Men Sensitive Twin Blade Disposable Razors 10 Pack</c:v>
                </c:pt>
                <c:pt idx="55">
                  <c:v>Equate Easy Fit 5 blades 1 Handle + 2 Cartridges</c:v>
                </c:pt>
                <c:pt idx="56">
                  <c:v>Bic Flex 5 Disposable Razors 4 Pack</c:v>
                </c:pt>
                <c:pt idx="57">
                  <c:v>Bic Comfort 3 Sensitive Skin Disposable Razors 8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2043956686750653</c:v>
                </c:pt>
                <c:pt idx="1">
                  <c:v>0.11282982159598257</c:v>
                </c:pt>
                <c:pt idx="2">
                  <c:v>0.10306694405330527</c:v>
                </c:pt>
                <c:pt idx="3">
                  <c:v>0.1024874974714405</c:v>
                </c:pt>
                <c:pt idx="4">
                  <c:v>0.08880307251995696</c:v>
                </c:pt>
                <c:pt idx="5">
                  <c:v>0.06667845134943935</c:v>
                </c:pt>
                <c:pt idx="6">
                  <c:v>0.05474131465074865</c:v>
                </c:pt>
                <c:pt idx="7">
                  <c:v>0.053821071350570696</c:v>
                </c:pt>
                <c:pt idx="8">
                  <c:v>0.0536340733199709</c:v>
                </c:pt>
                <c:pt idx="9">
                  <c:v>0.048761483610160986</c:v>
                </c:pt>
                <c:pt idx="10">
                  <c:v>0.044206302034678735</c:v>
                </c:pt>
                <c:pt idx="11">
                  <c:v>0.04381830780203585</c:v>
                </c:pt>
                <c:pt idx="12">
                  <c:v>0.03945027886810665</c:v>
                </c:pt>
                <c:pt idx="13">
                  <c:v>0.037833167948084175</c:v>
                </c:pt>
                <c:pt idx="14">
                  <c:v>0.03568260677230504</c:v>
                </c:pt>
                <c:pt idx="15">
                  <c:v>0.03430548666560668</c:v>
                </c:pt>
                <c:pt idx="16">
                  <c:v>0.029951768841001692</c:v>
                </c:pt>
                <c:pt idx="17">
                  <c:v>0.029003869787766094</c:v>
                </c:pt>
                <c:pt idx="18">
                  <c:v>0.02818392834757756</c:v>
                </c:pt>
                <c:pt idx="19">
                  <c:v>0.02696934619118969</c:v>
                </c:pt>
                <c:pt idx="20">
                  <c:v>0.02599840937392733</c:v>
                </c:pt>
                <c:pt idx="21">
                  <c:v>0.024977890466380426</c:v>
                </c:pt>
                <c:pt idx="22">
                  <c:v>0.0248132834283799</c:v>
                </c:pt>
                <c:pt idx="23">
                  <c:v>0.024729575336211573</c:v>
                </c:pt>
                <c:pt idx="24">
                  <c:v>0.022894635542487107</c:v>
                </c:pt>
                <c:pt idx="25">
                  <c:v>0.02154389721781238</c:v>
                </c:pt>
                <c:pt idx="26">
                  <c:v>0.021542647106806263</c:v>
                </c:pt>
                <c:pt idx="27">
                  <c:v>0.021092325400560247</c:v>
                </c:pt>
                <c:pt idx="28">
                  <c:v>0.02103238742932208</c:v>
                </c:pt>
                <c:pt idx="29">
                  <c:v>0.02084164114965221</c:v>
                </c:pt>
                <c:pt idx="30">
                  <c:v>0.020660079058559315</c:v>
                </c:pt>
                <c:pt idx="31">
                  <c:v>0.020322126453572096</c:v>
                </c:pt>
                <c:pt idx="32">
                  <c:v>0.019676401746548517</c:v>
                </c:pt>
                <c:pt idx="33">
                  <c:v>0.018913060381875912</c:v>
                </c:pt>
                <c:pt idx="34">
                  <c:v>0.018755054939854614</c:v>
                </c:pt>
                <c:pt idx="35">
                  <c:v>0.01870778796860767</c:v>
                </c:pt>
                <c:pt idx="36">
                  <c:v>0.018574906800448095</c:v>
                </c:pt>
                <c:pt idx="37">
                  <c:v>0.018370789623779454</c:v>
                </c:pt>
                <c:pt idx="38">
                  <c:v>0.01811175612785072</c:v>
                </c:pt>
                <c:pt idx="39">
                  <c:v>0.01803488561749312</c:v>
                </c:pt>
                <c:pt idx="40">
                  <c:v>0.01754982671350111</c:v>
                </c:pt>
                <c:pt idx="41">
                  <c:v>0.01676194986635439</c:v>
                </c:pt>
                <c:pt idx="42">
                  <c:v>0.01616238033924945</c:v>
                </c:pt>
                <c:pt idx="43">
                  <c:v>0.015933313308539317</c:v>
                </c:pt>
                <c:pt idx="44">
                  <c:v>0.01586256739594654</c:v>
                </c:pt>
                <c:pt idx="45">
                  <c:v>0.015697150077087742</c:v>
                </c:pt>
                <c:pt idx="46">
                  <c:v>0.015631922469308786</c:v>
                </c:pt>
                <c:pt idx="47">
                  <c:v>0.01550340047988592</c:v>
                </c:pt>
                <c:pt idx="48">
                  <c:v>0.01546862633495404</c:v>
                </c:pt>
                <c:pt idx="49">
                  <c:v>0.014747742819612405</c:v>
                </c:pt>
                <c:pt idx="50">
                  <c:v>0.013903015082847633</c:v>
                </c:pt>
                <c:pt idx="51">
                  <c:v>0.013823459604433168</c:v>
                </c:pt>
                <c:pt idx="52">
                  <c:v>0.013590700701208068</c:v>
                </c:pt>
                <c:pt idx="53">
                  <c:v>0.0134902463201517</c:v>
                </c:pt>
                <c:pt idx="54">
                  <c:v>0.013093988221862944</c:v>
                </c:pt>
                <c:pt idx="55">
                  <c:v>0.012760749880570063</c:v>
                </c:pt>
                <c:pt idx="56">
                  <c:v>0.012534367966503687</c:v>
                </c:pt>
                <c:pt idx="57">
                  <c:v>0.012466471590766285</c:v>
                </c:pt>
                <c:pt idx="58">
                  <c:v>0.011842553879363877</c:v>
                </c:pt>
                <c:pt idx="59">
                  <c:v>0.01054613901442393</c:v>
                </c:pt>
                <c:pt idx="60">
                  <c:v>0.009840543270604903</c:v>
                </c:pt>
                <c:pt idx="61">
                  <c:v>0.009163329015983546</c:v>
                </c:pt>
                <c:pt idx="62">
                  <c:v>0.008944876272017609</c:v>
                </c:pt>
                <c:pt idx="63">
                  <c:v>0.008908468373689412</c:v>
                </c:pt>
                <c:pt idx="64">
                  <c:v>0.008791635850160498</c:v>
                </c:pt>
                <c:pt idx="65">
                  <c:v>0.008762572125850451</c:v>
                </c:pt>
              </c:numCache>
            </c:numRef>
          </c:val>
          <c:extLst>
            <c:ext xmlns:c16="http://schemas.microsoft.com/office/drawing/2014/chart" uri="{C3380CC4-5D6E-409C-BE32-E72D297353CC}">
              <c16:uniqueId val="{000000B4-83E0-4716-877A-8084D4846F88}"/>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5 Sensitive Disposable Razors 2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7ECAC4"/>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006C6D"/>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7ECAC4"/>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7ECAC4"/>
              </a:solidFill>
            </c:spPr>
            <c:extLst>
              <c:ext xmlns:c16="http://schemas.microsoft.com/office/drawing/2014/chart" uri="{C3380CC4-5D6E-409C-BE32-E72D297353CC}">
                <c16:uniqueId val="{00000027-7980-4C82-8C1C-32D5A7B4E44B}"/>
              </c:ext>
            </c:extLst>
          </c:dPt>
          <c:dPt>
            <c:idx val="28"/>
            <c:invertIfNegative val="1"/>
            <c:bubble3D val="0"/>
            <c:spPr>
              <a:solidFill>
                <a:srgbClr val="7ECAC4"/>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spPr>
              <a:solidFill>
                <a:srgbClr val="7ECAC4"/>
              </a:solidFill>
            </c:spPr>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7ECAC4"/>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7ECAC4"/>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7ECAC4"/>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r>
                      <a:rPr sz="500">
                        <a:solidFill>
                          <a:srgbClr val="006C6D"/>
                        </a:solidFill>
                      </a:rPr>
                      <a:t>Schick Xtreme 5 Sensitive Disposable Razors 2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Schick Xtreme 5 Sensitive Disposable Razors 2 Pack</c:v>
                </c:pt>
                <c:pt idx="20">
                  <c:v>Gillette Fusion 5 Proglide Blade Refills 12 Pack</c:v>
                </c:pt>
                <c:pt idx="21">
                  <c:v>Gillette Fusion 5 1 Handle + 2 Cartridges</c:v>
                </c:pt>
                <c:pt idx="22">
                  <c:v>Gillette Mach 3 1 Handle + 2 Cartridges</c:v>
                </c:pt>
                <c:pt idx="23">
                  <c:v>Schick Xtreme 2 Sensitive Disposable Razors 12 Pack</c:v>
                </c:pt>
                <c:pt idx="24">
                  <c:v>Harry's 5 Blade 1 Handle + 5 Cartridges</c:v>
                </c:pt>
                <c:pt idx="25">
                  <c:v>Schick Xtreme 3 Sensitive Disposable Razors 4 Pack</c:v>
                </c:pt>
                <c:pt idx="26">
                  <c:v>Gillette Sensor 3 Sensitive Disposable Razors 4 Pack</c:v>
                </c:pt>
                <c:pt idx="27">
                  <c:v>Equate Easy Fit 5 Blade Refills 8 Pack</c:v>
                </c:pt>
                <c:pt idx="28">
                  <c:v>Equate Speed 3 Disposable Razors 4 Pack</c:v>
                </c:pt>
                <c:pt idx="29">
                  <c:v>Bic 3 Sensitive Disposable Razors 5 Pack</c:v>
                </c:pt>
                <c:pt idx="30">
                  <c:v>Gillette Sensor 2 Pivot Head Disposable Razors 12 Pack</c:v>
                </c:pt>
                <c:pt idx="31">
                  <c:v>Gillette Mach 3 Sensitive Skin Disposable Razors 3 Pack</c:v>
                </c:pt>
                <c:pt idx="32">
                  <c:v>Equate Caliber 5 Disposable Razors 3 Pack</c:v>
                </c:pt>
                <c:pt idx="33">
                  <c:v>Gillette Sensor 2 Plus Disposable Razors 10 Pack</c:v>
                </c:pt>
                <c:pt idx="34">
                  <c:v>Dollar Shave Club 6 1 Handle + 2 Blades</c:v>
                </c:pt>
                <c:pt idx="35">
                  <c:v>Gillette Sensor 3 Disposable Razors 12 Pack</c:v>
                </c:pt>
                <c:pt idx="36">
                  <c:v>Equate Speed 3 Disposable Razors 8 Pack</c:v>
                </c:pt>
                <c:pt idx="37">
                  <c:v>Gillette Fusion 5 1 Handle + 5 Cartridges</c:v>
                </c:pt>
                <c:pt idx="38">
                  <c:v>Bic Comfort 3 Sensitive Skin Disposable Razors 4 Pack</c:v>
                </c:pt>
                <c:pt idx="39">
                  <c:v>Gillette Fusion 5 1 Handle + 7 Cartridges</c:v>
                </c:pt>
                <c:pt idx="40">
                  <c:v>Gillette Sensor 3 Sensitive Disposable Razors 8 Pack</c:v>
                </c:pt>
                <c:pt idx="41">
                  <c:v>Dollar Shave Club 6 Blades Blade Refills 8 Pack</c:v>
                </c:pt>
                <c:pt idx="42">
                  <c:v>Gillette Mach 3 1 Handle + 6 Cartridges</c:v>
                </c:pt>
                <c:pt idx="43">
                  <c:v>Schick Hydro 5 Blade Sensitive 1 Handle + 3 Cartridges</c:v>
                </c:pt>
                <c:pt idx="44">
                  <c:v>Gillette Fusion 5 1 Handle + 3 Cartridges Holiday Pack</c:v>
                </c:pt>
                <c:pt idx="45">
                  <c:v>Gillette Sensor 3 Sensitive Disposable Razors 12 Pack</c:v>
                </c:pt>
                <c:pt idx="46">
                  <c:v>Gillette Fusion 5 Proglide 1 Handle + 4 Cartridges</c:v>
                </c:pt>
                <c:pt idx="47">
                  <c:v>Schick Hydro 3 Blade Ultra Sensitive 1 Handle + 4 Cartridges</c:v>
                </c:pt>
                <c:pt idx="48">
                  <c:v>Schick Xtreme 3 Sensitive Disposable Razors 8 Pack</c:v>
                </c:pt>
                <c:pt idx="49">
                  <c:v>Bic Flex 4 Sensitive Skin Disposable Razors 3 Pack</c:v>
                </c:pt>
                <c:pt idx="50">
                  <c:v>Gillette Sensor 3 Disposable Razors 8 Pack</c:v>
                </c:pt>
                <c:pt idx="51">
                  <c:v>Schick Hydro 5 Blade Sensitive Refills 12 Pack</c:v>
                </c:pt>
                <c:pt idx="52">
                  <c:v>Equate Easy Fit 5 Blade Refills 12 Pack</c:v>
                </c:pt>
                <c:pt idx="53">
                  <c:v>Equate Caliber 3 Disposable Razors 3 Pack</c:v>
                </c:pt>
                <c:pt idx="54">
                  <c:v>Bic Men Sensitive Twin Blade Disposable Razors 10 Pack</c:v>
                </c:pt>
                <c:pt idx="55">
                  <c:v>Equate Easy Fit 5 blades 1 Handle + 2 Cartridges</c:v>
                </c:pt>
                <c:pt idx="56">
                  <c:v>Bic Comfort 3 Sensitive Skin Disposable Razors 8 Pack</c:v>
                </c:pt>
                <c:pt idx="57">
                  <c:v>Bic Flex 5 Disposable Razors 4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Sensor 2 Pivot Head Disposable Razors 25 Pack</c:v>
                </c:pt>
                <c:pt idx="64">
                  <c:v>Gillette Mach 3 Blade Refills 15 Pack</c:v>
                </c:pt>
                <c:pt idx="65">
                  <c:v>Gillette Mach 3 Sensitive Skin Disposable Razors 6 Pack</c:v>
                </c:pt>
              </c:strCache>
            </c:strRef>
          </c:cat>
          <c:val>
            <c:numRef>
              <c:f>Sheet1!$B$2:$B$67</c:f>
              <c:numCache>
                <c:formatCode>General</c:formatCode>
                <c:ptCount val="66"/>
                <c:pt idx="0">
                  <c:v>0.2048980170179604</c:v>
                </c:pt>
                <c:pt idx="1">
                  <c:v>0.11183742393986756</c:v>
                </c:pt>
                <c:pt idx="2">
                  <c:v>0.10302297603554325</c:v>
                </c:pt>
                <c:pt idx="3">
                  <c:v>0.10215740001085828</c:v>
                </c:pt>
                <c:pt idx="4">
                  <c:v>0.08800506792690753</c:v>
                </c:pt>
                <c:pt idx="5">
                  <c:v>0.06670214314725526</c:v>
                </c:pt>
                <c:pt idx="6">
                  <c:v>0.05471413838717093</c:v>
                </c:pt>
                <c:pt idx="7">
                  <c:v>0.05356885370434971</c:v>
                </c:pt>
                <c:pt idx="8">
                  <c:v>0.053378081294465994</c:v>
                </c:pt>
                <c:pt idx="9">
                  <c:v>0.048709941290514286</c:v>
                </c:pt>
                <c:pt idx="10">
                  <c:v>0.04434631699840183</c:v>
                </c:pt>
                <c:pt idx="11">
                  <c:v>0.04365869669895168</c:v>
                </c:pt>
                <c:pt idx="12">
                  <c:v>0.03947003835239331</c:v>
                </c:pt>
                <c:pt idx="13">
                  <c:v>0.03784188218182111</c:v>
                </c:pt>
                <c:pt idx="14">
                  <c:v>0.0357248746017729</c:v>
                </c:pt>
                <c:pt idx="15">
                  <c:v>0.03436657779544318</c:v>
                </c:pt>
                <c:pt idx="16">
                  <c:v>0.030304500034499054</c:v>
                </c:pt>
                <c:pt idx="17">
                  <c:v>0.028995516079370114</c:v>
                </c:pt>
                <c:pt idx="18">
                  <c:v>0.028205520085797776</c:v>
                </c:pt>
                <c:pt idx="19">
                  <c:v>0.02805886465330451</c:v>
                </c:pt>
                <c:pt idx="20">
                  <c:v>0.026976701935288106</c:v>
                </c:pt>
                <c:pt idx="21">
                  <c:v>0.025845587627704267</c:v>
                </c:pt>
                <c:pt idx="22">
                  <c:v>0.024686846064080354</c:v>
                </c:pt>
                <c:pt idx="23">
                  <c:v>0.023783510402757356</c:v>
                </c:pt>
                <c:pt idx="24">
                  <c:v>0.02284425611246013</c:v>
                </c:pt>
                <c:pt idx="25">
                  <c:v>0.02279941308463939</c:v>
                </c:pt>
                <c:pt idx="26">
                  <c:v>0.0208613464750809</c:v>
                </c:pt>
                <c:pt idx="27">
                  <c:v>0.020849878663012623</c:v>
                </c:pt>
                <c:pt idx="28">
                  <c:v>0.02084249905569744</c:v>
                </c:pt>
                <c:pt idx="29">
                  <c:v>0.020838122779649908</c:v>
                </c:pt>
                <c:pt idx="30">
                  <c:v>0.020748148891664823</c:v>
                </c:pt>
                <c:pt idx="31">
                  <c:v>0.019794029611839032</c:v>
                </c:pt>
                <c:pt idx="32">
                  <c:v>0.019718191684323164</c:v>
                </c:pt>
                <c:pt idx="33">
                  <c:v>0.019717088571441478</c:v>
                </c:pt>
                <c:pt idx="34">
                  <c:v>0.018927734059808403</c:v>
                </c:pt>
                <c:pt idx="35">
                  <c:v>0.01869277367623777</c:v>
                </c:pt>
                <c:pt idx="36">
                  <c:v>0.018312998276564664</c:v>
                </c:pt>
                <c:pt idx="37">
                  <c:v>0.018279653103446133</c:v>
                </c:pt>
                <c:pt idx="38">
                  <c:v>0.01818724075711308</c:v>
                </c:pt>
                <c:pt idx="39">
                  <c:v>0.01805607797556623</c:v>
                </c:pt>
                <c:pt idx="40">
                  <c:v>0.017808833270070754</c:v>
                </c:pt>
                <c:pt idx="41">
                  <c:v>0.01761722908886656</c:v>
                </c:pt>
                <c:pt idx="42">
                  <c:v>0.01671992168683797</c:v>
                </c:pt>
                <c:pt idx="43">
                  <c:v>0.01621276151752034</c:v>
                </c:pt>
                <c:pt idx="44">
                  <c:v>0.01574482857636389</c:v>
                </c:pt>
                <c:pt idx="45">
                  <c:v>0.01565956090620411</c:v>
                </c:pt>
                <c:pt idx="46">
                  <c:v>0.015457804979730167</c:v>
                </c:pt>
                <c:pt idx="47">
                  <c:v>0.015432109096214374</c:v>
                </c:pt>
                <c:pt idx="48">
                  <c:v>0.015099296639496168</c:v>
                </c:pt>
                <c:pt idx="49">
                  <c:v>0.015008633001829844</c:v>
                </c:pt>
                <c:pt idx="50">
                  <c:v>0.013855963453000178</c:v>
                </c:pt>
                <c:pt idx="51">
                  <c:v>0.01363285009529183</c:v>
                </c:pt>
                <c:pt idx="52">
                  <c:v>0.013593556075098046</c:v>
                </c:pt>
                <c:pt idx="53">
                  <c:v>0.013504008432328697</c:v>
                </c:pt>
                <c:pt idx="54">
                  <c:v>0.012985281487886262</c:v>
                </c:pt>
                <c:pt idx="55">
                  <c:v>0.0126174863019554</c:v>
                </c:pt>
                <c:pt idx="56">
                  <c:v>0.012291306421430715</c:v>
                </c:pt>
                <c:pt idx="57">
                  <c:v>0.012260258655734317</c:v>
                </c:pt>
                <c:pt idx="58">
                  <c:v>0.011535896449979394</c:v>
                </c:pt>
                <c:pt idx="59">
                  <c:v>0.01053890396521368</c:v>
                </c:pt>
                <c:pt idx="60">
                  <c:v>0.009478593898292895</c:v>
                </c:pt>
                <c:pt idx="61">
                  <c:v>0.00917744552951104</c:v>
                </c:pt>
                <c:pt idx="62">
                  <c:v>0.008825266761645268</c:v>
                </c:pt>
                <c:pt idx="63">
                  <c:v>0.008817864095200132</c:v>
                </c:pt>
                <c:pt idx="64">
                  <c:v>0.008762198066773879</c:v>
                </c:pt>
                <c:pt idx="65">
                  <c:v>0.00863321250250023</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First 4 Blade Disposable Razors 3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7ECAC4"/>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7ECAC4"/>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7ECAC4"/>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006C6D"/>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r>
                      <a:rPr sz="500">
                        <a:solidFill>
                          <a:srgbClr val="006C6D"/>
                        </a:solidFill>
                      </a:rPr>
                      <a:t>Schick First 4 Blade Disposable Razors 3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Gillette Mach 3 1 Handle + 2 Cartridges</c:v>
                </c:pt>
                <c:pt idx="23">
                  <c:v>Schick Xtreme 2 Sensitive Disposable Razors 12 Pack</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Schick Hydro 3 Blade Ultra Sensitive 1 Handle + 4 Cartridges</c:v>
                </c:pt>
                <c:pt idx="46">
                  <c:v>Gillette Fusion 5 1 Handle + 3 Cartridges Holiday Pack</c:v>
                </c:pt>
                <c:pt idx="47">
                  <c:v>Bic Flex 4 Sensitive Skin Disposable Razors 3 Pack</c:v>
                </c:pt>
                <c:pt idx="48">
                  <c:v>Gillette Fusion 5 Proglide 1 Handle + 4 Cartridges</c:v>
                </c:pt>
                <c:pt idx="49">
                  <c:v>Gillette Sensor 3 Disposable Razors 8 Pack</c:v>
                </c:pt>
                <c:pt idx="50">
                  <c:v>Equate Caliber 3 Disposable Razors 3 Pack</c:v>
                </c:pt>
                <c:pt idx="51">
                  <c:v>Schick Hydro 5 Blade Sensitive Refills 12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Bic Flex 5 Disposable Razors 6 Pack Holiday Pack</c:v>
                </c:pt>
                <c:pt idx="62">
                  <c:v>Gillette Mach 3 Sensitive Skin Disposable Razors 6 Pack</c:v>
                </c:pt>
                <c:pt idx="63">
                  <c:v>Gillette Sensor 2 Pivot Head Disposable Razors 25 Pack</c:v>
                </c:pt>
                <c:pt idx="64">
                  <c:v>Gillette Mach 3 Blade Refills 15 Pack</c:v>
                </c:pt>
                <c:pt idx="65">
                  <c:v>Schick First 4 Blade Disposable Razors 3 Pack</c:v>
                </c:pt>
              </c:strCache>
            </c:strRef>
          </c:cat>
          <c:val>
            <c:numRef>
              <c:f>Sheet1!$B$2:$B$67</c:f>
              <c:numCache>
                <c:formatCode>General</c:formatCode>
                <c:ptCount val="66"/>
                <c:pt idx="0">
                  <c:v>0.2038331051390177</c:v>
                </c:pt>
                <c:pt idx="1">
                  <c:v>0.11350961157586263</c:v>
                </c:pt>
                <c:pt idx="2">
                  <c:v>0.10282802579705375</c:v>
                </c:pt>
                <c:pt idx="3">
                  <c:v>0.10256213443791595</c:v>
                </c:pt>
                <c:pt idx="4">
                  <c:v>0.08855383248866726</c:v>
                </c:pt>
                <c:pt idx="5">
                  <c:v>0.06648208037208153</c:v>
                </c:pt>
                <c:pt idx="6">
                  <c:v>0.05496286920979838</c:v>
                </c:pt>
                <c:pt idx="7">
                  <c:v>0.05384794195732748</c:v>
                </c:pt>
                <c:pt idx="8">
                  <c:v>0.0537208351636911</c:v>
                </c:pt>
                <c:pt idx="9">
                  <c:v>0.048673196227486296</c:v>
                </c:pt>
                <c:pt idx="10">
                  <c:v>0.044225741541877</c:v>
                </c:pt>
                <c:pt idx="11">
                  <c:v>0.04369676133329556</c:v>
                </c:pt>
                <c:pt idx="12">
                  <c:v>0.039347080939516874</c:v>
                </c:pt>
                <c:pt idx="13">
                  <c:v>0.03792344804240068</c:v>
                </c:pt>
                <c:pt idx="14">
                  <c:v>0.03582527462744996</c:v>
                </c:pt>
                <c:pt idx="15">
                  <c:v>0.03497671862076699</c:v>
                </c:pt>
                <c:pt idx="16">
                  <c:v>0.030674447624924286</c:v>
                </c:pt>
                <c:pt idx="17">
                  <c:v>0.028910862992086023</c:v>
                </c:pt>
                <c:pt idx="18">
                  <c:v>0.02812467527158545</c:v>
                </c:pt>
                <c:pt idx="19">
                  <c:v>0.026888861365113672</c:v>
                </c:pt>
                <c:pt idx="20">
                  <c:v>0.026098396199265413</c:v>
                </c:pt>
                <c:pt idx="21">
                  <c:v>0.025446732519639484</c:v>
                </c:pt>
                <c:pt idx="22">
                  <c:v>0.02515307998371364</c:v>
                </c:pt>
                <c:pt idx="23">
                  <c:v>0.02507164074603426</c:v>
                </c:pt>
                <c:pt idx="24">
                  <c:v>0.022961597065692823</c:v>
                </c:pt>
                <c:pt idx="25">
                  <c:v>0.02183772525412787</c:v>
                </c:pt>
                <c:pt idx="26">
                  <c:v>0.021537842166205762</c:v>
                </c:pt>
                <c:pt idx="27">
                  <c:v>0.02123352784489081</c:v>
                </c:pt>
                <c:pt idx="28">
                  <c:v>0.021142618365066233</c:v>
                </c:pt>
                <c:pt idx="29">
                  <c:v>0.02101271113180995</c:v>
                </c:pt>
                <c:pt idx="30">
                  <c:v>0.02081454876634963</c:v>
                </c:pt>
                <c:pt idx="31">
                  <c:v>0.020263897175868583</c:v>
                </c:pt>
                <c:pt idx="32">
                  <c:v>0.01999290142199073</c:v>
                </c:pt>
                <c:pt idx="33">
                  <c:v>0.01909060269471209</c:v>
                </c:pt>
                <c:pt idx="34">
                  <c:v>0.01905839331601025</c:v>
                </c:pt>
                <c:pt idx="35">
                  <c:v>0.018737166649001876</c:v>
                </c:pt>
                <c:pt idx="36">
                  <c:v>0.018626724153839723</c:v>
                </c:pt>
                <c:pt idx="37">
                  <c:v>0.018408386169555372</c:v>
                </c:pt>
                <c:pt idx="38">
                  <c:v>0.018278488024493958</c:v>
                </c:pt>
                <c:pt idx="39">
                  <c:v>0.018145298658603058</c:v>
                </c:pt>
                <c:pt idx="40">
                  <c:v>0.017557175431722572</c:v>
                </c:pt>
                <c:pt idx="41">
                  <c:v>0.01688598463429471</c:v>
                </c:pt>
                <c:pt idx="42">
                  <c:v>0.01680126375764295</c:v>
                </c:pt>
                <c:pt idx="43">
                  <c:v>0.016233787959619116</c:v>
                </c:pt>
                <c:pt idx="44">
                  <c:v>0.01614487758330306</c:v>
                </c:pt>
                <c:pt idx="45">
                  <c:v>0.01596270863305537</c:v>
                </c:pt>
                <c:pt idx="46">
                  <c:v>0.015912797596694693</c:v>
                </c:pt>
                <c:pt idx="47">
                  <c:v>0.01581450670099282</c:v>
                </c:pt>
                <c:pt idx="48">
                  <c:v>0.015553200416132966</c:v>
                </c:pt>
                <c:pt idx="49">
                  <c:v>0.014113405883621413</c:v>
                </c:pt>
                <c:pt idx="50">
                  <c:v>0.013787158055803222</c:v>
                </c:pt>
                <c:pt idx="51">
                  <c:v>0.013668200533214134</c:v>
                </c:pt>
                <c:pt idx="52">
                  <c:v>0.013573563016476498</c:v>
                </c:pt>
                <c:pt idx="53">
                  <c:v>0.013157073750861425</c:v>
                </c:pt>
                <c:pt idx="54">
                  <c:v>0.012815884242113787</c:v>
                </c:pt>
                <c:pt idx="55">
                  <c:v>0.012653338743688599</c:v>
                </c:pt>
                <c:pt idx="56">
                  <c:v>0.012544842540130474</c:v>
                </c:pt>
                <c:pt idx="57">
                  <c:v>0.011959973297593181</c:v>
                </c:pt>
                <c:pt idx="58">
                  <c:v>0.010743976076929068</c:v>
                </c:pt>
                <c:pt idx="59">
                  <c:v>0.010155780653379179</c:v>
                </c:pt>
                <c:pt idx="60">
                  <c:v>0.009228977557513724</c:v>
                </c:pt>
                <c:pt idx="61">
                  <c:v>0.0090357238561212</c:v>
                </c:pt>
                <c:pt idx="62">
                  <c:v>0.009026009466419146</c:v>
                </c:pt>
                <c:pt idx="63">
                  <c:v>0.008980934484325456</c:v>
                </c:pt>
                <c:pt idx="64">
                  <c:v>0.008783713473398952</c:v>
                </c:pt>
                <c:pt idx="65">
                  <c:v>0.0064253586201624465</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Equate 5 Blades Blade Refills 4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006C6D"/>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7ECAC4"/>
              </a:solidFill>
            </c:spPr>
            <c:extLst>
              <c:ext xmlns:c16="http://schemas.microsoft.com/office/drawing/2014/chart" uri="{C3380CC4-5D6E-409C-BE32-E72D297353CC}">
                <c16:uniqueId val="{00000015-A0D8-4FF8-BF2D-A6DC7B178F5A}"/>
              </c:ext>
            </c:extLst>
          </c:dPt>
          <c:dPt>
            <c:idx val="17"/>
            <c:invertIfNegative val="1"/>
            <c:bubble3D val="0"/>
            <c:spPr>
              <a:solidFill>
                <a:srgbClr val="7ECAC4"/>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7ECAC4"/>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7ECAC4"/>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7ECAC4"/>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7ECAC4"/>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r>
                      <a:rPr sz="500">
                        <a:solidFill>
                          <a:srgbClr val="006C6D"/>
                        </a:solidFill>
                      </a:rPr>
                      <a:t>Equate 5 Blades Blade Refills 4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Equate 5 Blades Blade Refills 4 Pack</c:v>
                </c:pt>
                <c:pt idx="15">
                  <c:v>Gillette Mach 3 Blade Refills 8 Pack</c:v>
                </c:pt>
                <c:pt idx="16">
                  <c:v>Schick Hydro 3 Blade Ultra Sensitive Refills 5 Pack</c:v>
                </c:pt>
                <c:pt idx="17">
                  <c:v>Schick Hydro 5 Blade Sensitive Refills 6 Pack</c:v>
                </c:pt>
                <c:pt idx="18">
                  <c:v>Gillette Fusion 5 Blade Refills 12 Pack</c:v>
                </c:pt>
                <c:pt idx="19">
                  <c:v>Harry's Men Five Blade Refills 12 Pack</c:v>
                </c:pt>
                <c:pt idx="20">
                  <c:v>Gillette Fusion 5 Proglide Blade Refills 12 Pack</c:v>
                </c:pt>
                <c:pt idx="21">
                  <c:v>Gillette Fusion 5 1 Handle + 2 Cartridges</c:v>
                </c:pt>
                <c:pt idx="22">
                  <c:v>Schick Xtreme 3 Sensitive Disposable Razors 4 Pack</c:v>
                </c:pt>
                <c:pt idx="23">
                  <c:v>Schick Xtreme 2 Sensitive Disposable Razors 12 Pack</c:v>
                </c:pt>
                <c:pt idx="24">
                  <c:v>Gillette Mach 3 1 Handle + 2 Cartridges</c:v>
                </c:pt>
                <c:pt idx="25">
                  <c:v>Harry's 5 Blade 1 Handle + 5 Cartridges</c:v>
                </c:pt>
                <c:pt idx="26">
                  <c:v>Gillette Sensor 3 Sensitive Disposable Razors 4 Pack</c:v>
                </c:pt>
                <c:pt idx="27">
                  <c:v>Equate Speed 3 Disposable Razors 4 Pack</c:v>
                </c:pt>
                <c:pt idx="28">
                  <c:v>Gillette Mach 3 Sensitive Skin Disposable Razors 3 Pack</c:v>
                </c:pt>
                <c:pt idx="29">
                  <c:v>Bic 3 Sensitive Disposable Razors 5 Pack</c:v>
                </c:pt>
                <c:pt idx="30">
                  <c:v>Gillette Sensor 2 Pivot Head Disposable Razors 12 Pack</c:v>
                </c:pt>
                <c:pt idx="31">
                  <c:v>Equate Caliber 5 Disposable Razors 3 Pack</c:v>
                </c:pt>
                <c:pt idx="32">
                  <c:v>Equate Easy Fit 5 Blade Refills 8 Pack</c:v>
                </c:pt>
                <c:pt idx="33">
                  <c:v>Gillette Sensor 2 Plus Disposable Razors 10 Pack</c:v>
                </c:pt>
                <c:pt idx="34">
                  <c:v>Dollar Shave Club 6 1 Handle + 2 Blades</c:v>
                </c:pt>
                <c:pt idx="35">
                  <c:v>Gillette Sensor 3 Disposable Razors 12 Pack</c:v>
                </c:pt>
                <c:pt idx="36">
                  <c:v>Equate Speed 3 Disposable Razors 8 Pack</c:v>
                </c:pt>
                <c:pt idx="37">
                  <c:v>Bic Comfort 3 Sensitive Skin Disposable Razors 4 Pack</c:v>
                </c:pt>
                <c:pt idx="38">
                  <c:v>Gillette Fusion 5 1 Handle + 5 Cartridges</c:v>
                </c:pt>
                <c:pt idx="39">
                  <c:v>Gillette Sensor 3 Sensitive Disposable Razors 8 Pack</c:v>
                </c:pt>
                <c:pt idx="40">
                  <c:v>Gillette Fusion 5 1 Handle + 7 Cartridges</c:v>
                </c:pt>
                <c:pt idx="41">
                  <c:v>Dollar Shave Club 6 Blades Blade Refills 8 Pack</c:v>
                </c:pt>
                <c:pt idx="42">
                  <c:v>Gillette Mach 3 1 Handle + 6 Cartridges</c:v>
                </c:pt>
                <c:pt idx="43">
                  <c:v>Schick Hydro 5 Blade Sensitive 1 Handle + 3 Cartridges</c:v>
                </c:pt>
                <c:pt idx="44">
                  <c:v>Schick Xtreme 3 Sensitive Disposable Razors 8 Pack</c:v>
                </c:pt>
                <c:pt idx="45">
                  <c:v>Gillette Sensor 3 Sensitive Disposable Razors 12 Pack</c:v>
                </c:pt>
                <c:pt idx="46">
                  <c:v>Schick Hydro 3 Blade Ultra Sensitive 1 Handle + 4 Cartridges</c:v>
                </c:pt>
                <c:pt idx="47">
                  <c:v>Bic Flex 4 Sensitive Skin Disposable Razors 3 Pack</c:v>
                </c:pt>
                <c:pt idx="48">
                  <c:v>Gillette Fusion 5 1 Handle + 3 Cartridges Holiday Pack</c:v>
                </c:pt>
                <c:pt idx="49">
                  <c:v>Gillette Fusion 5 Proglide 1 Handle + 4 Cartridges</c:v>
                </c:pt>
                <c:pt idx="50">
                  <c:v>Gillette Sensor 3 Disposable Razors 8 Pack</c:v>
                </c:pt>
                <c:pt idx="51">
                  <c:v>Equate Caliber 3 Disposable Razors 3 Pack</c:v>
                </c:pt>
                <c:pt idx="52">
                  <c:v>Schick Hydro 5 Blade Sensitive Refills 12 Pack</c:v>
                </c:pt>
                <c:pt idx="53">
                  <c:v>Equate Easy Fit 5 Blade Refills 12 Pack</c:v>
                </c:pt>
                <c:pt idx="54">
                  <c:v>Bic Men Sensitive Twin Blade Disposable Razors 10 Pack</c:v>
                </c:pt>
                <c:pt idx="55">
                  <c:v>Equate Easy Fit 5 blades 1 Handle + 2 Cartridges</c:v>
                </c:pt>
                <c:pt idx="56">
                  <c:v>Bic Flex 5 Disposable Razors 4 Pack</c:v>
                </c:pt>
                <c:pt idx="57">
                  <c:v>Bic Comfort 3 Sensitive Skin Disposable Razors 8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18857407323825393</c:v>
                </c:pt>
                <c:pt idx="1">
                  <c:v>0.113815245550145</c:v>
                </c:pt>
                <c:pt idx="2">
                  <c:v>0.10120522330340664</c:v>
                </c:pt>
                <c:pt idx="3">
                  <c:v>0.10101232746655396</c:v>
                </c:pt>
                <c:pt idx="4">
                  <c:v>0.08715305765538484</c:v>
                </c:pt>
                <c:pt idx="5">
                  <c:v>0.05712651515019977</c:v>
                </c:pt>
                <c:pt idx="6">
                  <c:v>0.05522069526906015</c:v>
                </c:pt>
                <c:pt idx="7">
                  <c:v>0.05410667934810022</c:v>
                </c:pt>
                <c:pt idx="8">
                  <c:v>0.05404942633466891</c:v>
                </c:pt>
                <c:pt idx="9">
                  <c:v>0.04795449836926792</c:v>
                </c:pt>
                <c:pt idx="10">
                  <c:v>0.043618712560192965</c:v>
                </c:pt>
                <c:pt idx="11">
                  <c:v>0.04301906435802168</c:v>
                </c:pt>
                <c:pt idx="12">
                  <c:v>0.038709407700764926</c:v>
                </c:pt>
                <c:pt idx="13">
                  <c:v>0.03799494292907879</c:v>
                </c:pt>
                <c:pt idx="14">
                  <c:v>0.036612338955632394</c:v>
                </c:pt>
                <c:pt idx="15">
                  <c:v>0.03529146311987588</c:v>
                </c:pt>
                <c:pt idx="16">
                  <c:v>0.034623177588908115</c:v>
                </c:pt>
                <c:pt idx="17">
                  <c:v>0.03028568790636754</c:v>
                </c:pt>
                <c:pt idx="18">
                  <c:v>0.02766640885858986</c:v>
                </c:pt>
                <c:pt idx="19">
                  <c:v>0.02741276474455328</c:v>
                </c:pt>
                <c:pt idx="20">
                  <c:v>0.02645198741958139</c:v>
                </c:pt>
                <c:pt idx="21">
                  <c:v>0.02616708444306624</c:v>
                </c:pt>
                <c:pt idx="22">
                  <c:v>0.02599958587576281</c:v>
                </c:pt>
                <c:pt idx="23">
                  <c:v>0.02559833131302037</c:v>
                </c:pt>
                <c:pt idx="24">
                  <c:v>0.025277695887232794</c:v>
                </c:pt>
                <c:pt idx="25">
                  <c:v>0.02301761968074307</c:v>
                </c:pt>
                <c:pt idx="26">
                  <c:v>0.022008591800068894</c:v>
                </c:pt>
                <c:pt idx="27">
                  <c:v>0.02183433336300898</c:v>
                </c:pt>
                <c:pt idx="28">
                  <c:v>0.021435768283141084</c:v>
                </c:pt>
                <c:pt idx="29">
                  <c:v>0.021305618474973004</c:v>
                </c:pt>
                <c:pt idx="30">
                  <c:v>0.021091432505975123</c:v>
                </c:pt>
                <c:pt idx="31">
                  <c:v>0.020504073267481524</c:v>
                </c:pt>
                <c:pt idx="32">
                  <c:v>0.020499257449369052</c:v>
                </c:pt>
                <c:pt idx="33">
                  <c:v>0.020081177815975827</c:v>
                </c:pt>
                <c:pt idx="34">
                  <c:v>0.019190252244563295</c:v>
                </c:pt>
                <c:pt idx="35">
                  <c:v>0.019153893849731533</c:v>
                </c:pt>
                <c:pt idx="36">
                  <c:v>0.018931193823205756</c:v>
                </c:pt>
                <c:pt idx="37">
                  <c:v>0.018795821359222073</c:v>
                </c:pt>
                <c:pt idx="38">
                  <c:v>0.018448694778280258</c:v>
                </c:pt>
                <c:pt idx="39">
                  <c:v>0.01837461836852013</c:v>
                </c:pt>
                <c:pt idx="40">
                  <c:v>0.01817183193715113</c:v>
                </c:pt>
                <c:pt idx="41">
                  <c:v>0.0173043289753101</c:v>
                </c:pt>
                <c:pt idx="42">
                  <c:v>0.01693696339227872</c:v>
                </c:pt>
                <c:pt idx="43">
                  <c:v>0.016933321363220514</c:v>
                </c:pt>
                <c:pt idx="44">
                  <c:v>0.016431930524278677</c:v>
                </c:pt>
                <c:pt idx="45">
                  <c:v>0.016249015174733723</c:v>
                </c:pt>
                <c:pt idx="46">
                  <c:v>0.016099034684080082</c:v>
                </c:pt>
                <c:pt idx="47">
                  <c:v>0.01600901048575834</c:v>
                </c:pt>
                <c:pt idx="48">
                  <c:v>0.015953754921527282</c:v>
                </c:pt>
                <c:pt idx="49">
                  <c:v>0.015585270843262595</c:v>
                </c:pt>
                <c:pt idx="50">
                  <c:v>0.0141798838626836</c:v>
                </c:pt>
                <c:pt idx="51">
                  <c:v>0.013936415137639449</c:v>
                </c:pt>
                <c:pt idx="52">
                  <c:v>0.013461278452601411</c:v>
                </c:pt>
                <c:pt idx="53">
                  <c:v>0.013366886236464542</c:v>
                </c:pt>
                <c:pt idx="54">
                  <c:v>0.013233296903957352</c:v>
                </c:pt>
                <c:pt idx="55">
                  <c:v>0.012914387491780414</c:v>
                </c:pt>
                <c:pt idx="56">
                  <c:v>0.012721142666597515</c:v>
                </c:pt>
                <c:pt idx="57">
                  <c:v>0.012624723442133645</c:v>
                </c:pt>
                <c:pt idx="58">
                  <c:v>0.012073138761508168</c:v>
                </c:pt>
                <c:pt idx="59">
                  <c:v>0.010800298716550184</c:v>
                </c:pt>
                <c:pt idx="60">
                  <c:v>0.010294261398762345</c:v>
                </c:pt>
                <c:pt idx="61">
                  <c:v>0.009252704284405323</c:v>
                </c:pt>
                <c:pt idx="62">
                  <c:v>0.009088864469429947</c:v>
                </c:pt>
                <c:pt idx="63">
                  <c:v>0.009079543598893111</c:v>
                </c:pt>
                <c:pt idx="64">
                  <c:v>0.009028429374341881</c:v>
                </c:pt>
                <c:pt idx="65">
                  <c:v>0.008651540490699786</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Equate 2 Blade Disposable Razors 20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AEABAB"/>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AEABAB"/>
              </a:solidFill>
            </c:spPr>
            <c:extLst>
              <c:ext xmlns:c16="http://schemas.microsoft.com/office/drawing/2014/chart" uri="{C3380CC4-5D6E-409C-BE32-E72D297353CC}">
                <c16:uniqueId val="{00000017-7980-4C82-8C1C-32D5A7B4E44B}"/>
              </c:ext>
            </c:extLst>
          </c:dPt>
          <c:dPt>
            <c:idx val="10"/>
            <c:invertIfNegative val="1"/>
            <c:bubble3D val="0"/>
            <c:spPr>
              <a:solidFill>
                <a:srgbClr val="7ECAC4"/>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006C6D"/>
              </a:solidFill>
            </c:spPr>
            <c:extLst>
              <c:ext xmlns:c16="http://schemas.microsoft.com/office/drawing/2014/chart" uri="{C3380CC4-5D6E-409C-BE32-E72D297353CC}">
                <c16:uniqueId val="{0000001E-7980-4C82-8C1C-32D5A7B4E44B}"/>
              </c:ext>
            </c:extLst>
          </c:dPt>
          <c:dPt>
            <c:idx val="17"/>
            <c:invertIfNegative val="0"/>
            <c:bubble3D val="0"/>
            <c:spPr>
              <a:solidFill>
                <a:srgbClr val="7ECAC4"/>
              </a:solidFill>
            </c:spPr>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7ECAC4"/>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7ECAC4"/>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7ECAC4"/>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7ECAC4"/>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spPr>
              <a:solidFill>
                <a:srgbClr val="7ECAC4"/>
              </a:solidFill>
            </c:spPr>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7ECAC4"/>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r>
                      <a:rPr sz="500">
                        <a:solidFill>
                          <a:srgbClr val="006C6D"/>
                        </a:solidFill>
                      </a:rPr>
                      <a:t>Equate 2 Blade Disposable Razors 20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Bic Men Sensitive Single Blade Disposable Razors 12 Pack</c:v>
                </c:pt>
                <c:pt idx="7">
                  <c:v>Equate Easy Fit 5 Blade Refills 4 Pack</c:v>
                </c:pt>
                <c:pt idx="8">
                  <c:v>Equate 2 Blade Disposable Razors 5 Pack</c:v>
                </c:pt>
                <c:pt idx="9">
                  <c:v>Dollar Shave Club 6 Blades Blade Refills 4 Pack</c:v>
                </c:pt>
                <c:pt idx="10">
                  <c:v>Equate 2 Blade Disposable Razors 12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Equate 2 Blade Disposable Razors 20 Pack</c:v>
                </c:pt>
                <c:pt idx="17">
                  <c:v>Schick Hydro 5 Blade Sensitive Refills 6 Pack</c:v>
                </c:pt>
                <c:pt idx="18">
                  <c:v>Harry's Men Five Blade Refills 12 Pack</c:v>
                </c:pt>
                <c:pt idx="19">
                  <c:v>Gillette Fusion 5 Blade Refills 12 Pack</c:v>
                </c:pt>
                <c:pt idx="20">
                  <c:v>Gillette Fusion 5 Proglide Blade Refills 12 Pack</c:v>
                </c:pt>
                <c:pt idx="21">
                  <c:v>Gillette Fusion 5 1 Handle + 2 Cartridges</c:v>
                </c:pt>
                <c:pt idx="22">
                  <c:v>Schick Xtreme 3 Sensitive Disposable Razors 4 Pack</c:v>
                </c:pt>
                <c:pt idx="23">
                  <c:v>Gillette Mach 3 1 Handle + 2 Cartridges</c:v>
                </c:pt>
                <c:pt idx="24">
                  <c:v>Schick Xtreme 2 Sensitive Disposable Razors 12 Pack</c:v>
                </c:pt>
                <c:pt idx="25">
                  <c:v>Harry's 5 Blade 1 Handle + 5 Cartridges</c:v>
                </c:pt>
                <c:pt idx="26">
                  <c:v>Gillette Sensor 3 Sensitive Disposable Razors 4 Pack</c:v>
                </c:pt>
                <c:pt idx="27">
                  <c:v>Gillette Mach 3 Sensitive Skin Disposable Razors 3 Pack</c:v>
                </c:pt>
                <c:pt idx="28">
                  <c:v>Gillette Sensor 2 Pivot Head Disposable Razors 12 Pack</c:v>
                </c:pt>
                <c:pt idx="29">
                  <c:v>Equate Easy Fit 5 Blade Refills 8 Pack</c:v>
                </c:pt>
                <c:pt idx="30">
                  <c:v>Equate Speed 3 Disposable Razors 4 Pack</c:v>
                </c:pt>
                <c:pt idx="31">
                  <c:v>Bic 3 Sensitive Disposable Razors 5 Pack</c:v>
                </c:pt>
                <c:pt idx="32">
                  <c:v>Gillette Sensor 2 Plus Disposable Razors 10 Pack</c:v>
                </c:pt>
                <c:pt idx="33">
                  <c:v>Equate Caliber 5 Disposable Razors 3 Pack</c:v>
                </c:pt>
                <c:pt idx="34">
                  <c:v>Dollar Shave Club 6 1 Handle + 2 Blades</c:v>
                </c:pt>
                <c:pt idx="35">
                  <c:v>Gillette Sensor 3 Disposable Razors 12 Pack</c:v>
                </c:pt>
                <c:pt idx="36">
                  <c:v>Gillette Fusion 5 1 Handle + 5 Cartridges</c:v>
                </c:pt>
                <c:pt idx="37">
                  <c:v>Equate Speed 3 Disposable Razors 8 Pack</c:v>
                </c:pt>
                <c:pt idx="38">
                  <c:v>Gillette Sensor 3 Sensitive Disposable Razors 8 Pack</c:v>
                </c:pt>
                <c:pt idx="39">
                  <c:v>Gillette Fusion 5 1 Handle + 7 Cartridges</c:v>
                </c:pt>
                <c:pt idx="40">
                  <c:v>Bic Comfort 3 Sensitive Skin Disposable Razors 4 Pack</c:v>
                </c:pt>
                <c:pt idx="41">
                  <c:v>Dollar Shave Club 6 Blades Blade Refills 8 Pack</c:v>
                </c:pt>
                <c:pt idx="42">
                  <c:v>Gillette Mach 3 1 Handle + 6 Cartridges</c:v>
                </c:pt>
                <c:pt idx="43">
                  <c:v>Schick Hydro 5 Blade Sensitive 1 Handle + 3 Cartridges</c:v>
                </c:pt>
                <c:pt idx="44">
                  <c:v>Schick Xtreme 3 Sensitive Disposable Razors 8 Pack</c:v>
                </c:pt>
                <c:pt idx="45">
                  <c:v>Gillette Sensor 3 Sensitive Disposable Razors 12 Pack</c:v>
                </c:pt>
                <c:pt idx="46">
                  <c:v>Schick Hydro 3 Blade Ultra Sensitive 1 Handle + 4 Cartridges</c:v>
                </c:pt>
                <c:pt idx="47">
                  <c:v>Gillette Fusion 5 1 Handle + 3 Cartridges Holiday Pack</c:v>
                </c:pt>
                <c:pt idx="48">
                  <c:v>Bic Flex 4 Sensitive Skin Disposable Razors 3 Pack</c:v>
                </c:pt>
                <c:pt idx="49">
                  <c:v>Gillette Fusion 5 Proglide 1 Handle + 4 Cartridges</c:v>
                </c:pt>
                <c:pt idx="50">
                  <c:v>Gillette Sensor 3 Disposable Razors 8 Pack</c:v>
                </c:pt>
                <c:pt idx="51">
                  <c:v>Schick Hydro 5 Blade Sensitive Refills 12 Pack</c:v>
                </c:pt>
                <c:pt idx="52">
                  <c:v>Equate Easy Fit 5 Blade Refills 12 Pack</c:v>
                </c:pt>
                <c:pt idx="53">
                  <c:v>Equate Caliber 3 Disposable Razors 3 Pack</c:v>
                </c:pt>
                <c:pt idx="54">
                  <c:v>Bic Men Sensitive Twin Blade Disposable Razors 10 Pack</c:v>
                </c:pt>
                <c:pt idx="55">
                  <c:v>Equate Easy Fit 5 blades 1 Handle + 2 Cartridges</c:v>
                </c:pt>
                <c:pt idx="56">
                  <c:v>Bic Flex 5 Disposable Razors 4 Pack</c:v>
                </c:pt>
                <c:pt idx="57">
                  <c:v>Bic Comfort 3 Sensitive Skin Disposable Razors 8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Gillette Mach 3 Sensitive Skin Disposable Razors 6 Pack</c:v>
                </c:pt>
                <c:pt idx="63">
                  <c:v>Bic Flex 5 Disposable Razors 6 Pack Holiday Pack</c:v>
                </c:pt>
                <c:pt idx="64">
                  <c:v>Gillette Sensor 2 Pivot Head Disposable Razors 25 Pack</c:v>
                </c:pt>
                <c:pt idx="65">
                  <c:v>Gillette Mach 3 Blade Refills 15 Pack</c:v>
                </c:pt>
              </c:strCache>
            </c:strRef>
          </c:cat>
          <c:val>
            <c:numRef>
              <c:f>Sheet1!$B$2:$B$67</c:f>
              <c:numCache>
                <c:formatCode>General</c:formatCode>
                <c:ptCount val="66"/>
                <c:pt idx="0">
                  <c:v>0.20384189733643537</c:v>
                </c:pt>
                <c:pt idx="1">
                  <c:v>0.11256349041034676</c:v>
                </c:pt>
                <c:pt idx="2">
                  <c:v>0.10293481577953711</c:v>
                </c:pt>
                <c:pt idx="3">
                  <c:v>0.10276767427375036</c:v>
                </c:pt>
                <c:pt idx="4">
                  <c:v>0.08869814279605927</c:v>
                </c:pt>
                <c:pt idx="5">
                  <c:v>0.06646618362412782</c:v>
                </c:pt>
                <c:pt idx="6">
                  <c:v>0.05089211378147757</c:v>
                </c:pt>
                <c:pt idx="7">
                  <c:v>0.04826060673353691</c:v>
                </c:pt>
                <c:pt idx="8">
                  <c:v>0.0464836363659783</c:v>
                </c:pt>
                <c:pt idx="9">
                  <c:v>0.04405270922199149</c:v>
                </c:pt>
                <c:pt idx="10">
                  <c:v>0.04365491434450507</c:v>
                </c:pt>
                <c:pt idx="11">
                  <c:v>0.043542929339148176</c:v>
                </c:pt>
                <c:pt idx="12">
                  <c:v>0.03939803922027432</c:v>
                </c:pt>
                <c:pt idx="13">
                  <c:v>0.037788228799246655</c:v>
                </c:pt>
                <c:pt idx="14">
                  <c:v>0.03590286865689167</c:v>
                </c:pt>
                <c:pt idx="15">
                  <c:v>0.03503664237650338</c:v>
                </c:pt>
                <c:pt idx="16">
                  <c:v>0.034835089222486175</c:v>
                </c:pt>
                <c:pt idx="17">
                  <c:v>0.030725156513925368</c:v>
                </c:pt>
                <c:pt idx="18">
                  <c:v>0.0288665474589536</c:v>
                </c:pt>
                <c:pt idx="19">
                  <c:v>0.028167129567713015</c:v>
                </c:pt>
                <c:pt idx="20">
                  <c:v>0.02692830692291359</c:v>
                </c:pt>
                <c:pt idx="21">
                  <c:v>0.02610297711845248</c:v>
                </c:pt>
                <c:pt idx="22">
                  <c:v>0.025292292855317918</c:v>
                </c:pt>
                <c:pt idx="23">
                  <c:v>0.025184640430925703</c:v>
                </c:pt>
                <c:pt idx="24">
                  <c:v>0.025059597474707353</c:v>
                </c:pt>
                <c:pt idx="25">
                  <c:v>0.022954636706948316</c:v>
                </c:pt>
                <c:pt idx="26">
                  <c:v>0.021716384798531843</c:v>
                </c:pt>
                <c:pt idx="27">
                  <c:v>0.02125623424549727</c:v>
                </c:pt>
                <c:pt idx="28">
                  <c:v>0.02092641032352461</c:v>
                </c:pt>
                <c:pt idx="29">
                  <c:v>0.020795421004279828</c:v>
                </c:pt>
                <c:pt idx="30">
                  <c:v>0.02078389032471022</c:v>
                </c:pt>
                <c:pt idx="31">
                  <c:v>0.020408173764281102</c:v>
                </c:pt>
                <c:pt idx="32">
                  <c:v>0.019905313494618226</c:v>
                </c:pt>
                <c:pt idx="33">
                  <c:v>0.01962044760244651</c:v>
                </c:pt>
                <c:pt idx="34">
                  <c:v>0.01898624812735336</c:v>
                </c:pt>
                <c:pt idx="35">
                  <c:v>0.018904862492808504</c:v>
                </c:pt>
                <c:pt idx="36">
                  <c:v>0.018418804185253164</c:v>
                </c:pt>
                <c:pt idx="37">
                  <c:v>0.018355534585183176</c:v>
                </c:pt>
                <c:pt idx="38">
                  <c:v>0.018220392230794944</c:v>
                </c:pt>
                <c:pt idx="39">
                  <c:v>0.0181521360403227</c:v>
                </c:pt>
                <c:pt idx="40">
                  <c:v>0.017942609931562794</c:v>
                </c:pt>
                <c:pt idx="41">
                  <c:v>0.017540444507869936</c:v>
                </c:pt>
                <c:pt idx="42">
                  <c:v>0.016902156375055592</c:v>
                </c:pt>
                <c:pt idx="43">
                  <c:v>0.016813923724579717</c:v>
                </c:pt>
                <c:pt idx="44">
                  <c:v>0.016282654843354616</c:v>
                </c:pt>
                <c:pt idx="45">
                  <c:v>0.016098211674104013</c:v>
                </c:pt>
                <c:pt idx="46">
                  <c:v>0.01599082579965732</c:v>
                </c:pt>
                <c:pt idx="47">
                  <c:v>0.01593278783078341</c:v>
                </c:pt>
                <c:pt idx="48">
                  <c:v>0.015704432042088</c:v>
                </c:pt>
                <c:pt idx="49">
                  <c:v>0.015549832560284511</c:v>
                </c:pt>
                <c:pt idx="50">
                  <c:v>0.014025344591377926</c:v>
                </c:pt>
                <c:pt idx="51">
                  <c:v>0.013692837869398</c:v>
                </c:pt>
                <c:pt idx="52">
                  <c:v>0.013578177521787412</c:v>
                </c:pt>
                <c:pt idx="53">
                  <c:v>0.013123158350749809</c:v>
                </c:pt>
                <c:pt idx="54">
                  <c:v>0.012873314249497976</c:v>
                </c:pt>
                <c:pt idx="55">
                  <c:v>0.012671076275750856</c:v>
                </c:pt>
                <c:pt idx="56">
                  <c:v>0.012582469460652232</c:v>
                </c:pt>
                <c:pt idx="57">
                  <c:v>0.012319154019985346</c:v>
                </c:pt>
                <c:pt idx="58">
                  <c:v>0.011706784966429627</c:v>
                </c:pt>
                <c:pt idx="59">
                  <c:v>0.010690701490452488</c:v>
                </c:pt>
                <c:pt idx="60">
                  <c:v>0.010132022902397207</c:v>
                </c:pt>
                <c:pt idx="61">
                  <c:v>0.009218538048312833</c:v>
                </c:pt>
                <c:pt idx="62">
                  <c:v>0.009038082585606651</c:v>
                </c:pt>
                <c:pt idx="63">
                  <c:v>0.009016194685966879</c:v>
                </c:pt>
                <c:pt idx="64">
                  <c:v>0.008919273865632363</c:v>
                </c:pt>
                <c:pt idx="65">
                  <c:v>0.008803469274903325</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Equate Caliber 3 Disposable Razors 6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7ECAC4"/>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7ECAC4"/>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7ECAC4"/>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7ECAC4"/>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006C6D"/>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r>
                      <a:rPr sz="500">
                        <a:solidFill>
                          <a:srgbClr val="006C6D"/>
                        </a:solidFill>
                      </a:rPr>
                      <a:t>Equate Caliber 3 Disposable Razors 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Gillette Mach 3 Sensitive Skin Disposable Razors 3 Pack</c:v>
                </c:pt>
                <c:pt idx="27">
                  <c:v>Bic 3 Sensitive Disposable Razors 5 Pack</c:v>
                </c:pt>
                <c:pt idx="28">
                  <c:v>Gillette Sensor 2 Pivot Head Disposable Razors 12 Pack</c:v>
                </c:pt>
                <c:pt idx="29">
                  <c:v>Equate Speed 3 Disposable Razors 4 Pack</c:v>
                </c:pt>
                <c:pt idx="30">
                  <c:v>Equate Easy Fit 5 Blade Refills 8 Pack</c:v>
                </c:pt>
                <c:pt idx="31">
                  <c:v>Equate Caliber 5 Disposable Razors 3 Pack</c:v>
                </c:pt>
                <c:pt idx="32">
                  <c:v>Gillette Sensor 2 Plus Disposable Razors 10 Pack</c:v>
                </c:pt>
                <c:pt idx="33">
                  <c:v>Dollar Shave Club 6 1 Handle + 2 Blades</c:v>
                </c:pt>
                <c:pt idx="34">
                  <c:v>Gillette Sensor 3 Disposable Razors 12 Pack</c:v>
                </c:pt>
                <c:pt idx="35">
                  <c:v>Bic Comfort 3 Sensitive Skin Disposable Razors 4 Pack</c:v>
                </c:pt>
                <c:pt idx="36">
                  <c:v>Gillette Fusion 5 1 Handle + 5 Cartridges</c:v>
                </c:pt>
                <c:pt idx="37">
                  <c:v>Gillette Sensor 3 Sensitive Disposable Razors 8 Pack</c:v>
                </c:pt>
                <c:pt idx="38">
                  <c:v>Gillette Fusion 5 1 Handle + 7 Cartridges</c:v>
                </c:pt>
                <c:pt idx="39">
                  <c:v>Equate Speed 3 Disposable Razors 8 Pack</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Schick Hydro 3 Blade Ultra Sensitive 1 Handle + 4 Cartridges</c:v>
                </c:pt>
                <c:pt idx="46">
                  <c:v>Gillette Fusion 5 1 Handle + 3 Cartridges Holiday Pack</c:v>
                </c:pt>
                <c:pt idx="47">
                  <c:v>Bic Flex 4 Sensitive Skin Disposable Razors 3 Pack</c:v>
                </c:pt>
                <c:pt idx="48">
                  <c:v>Gillette Fusion 5 Proglide 1 Handle + 4 Cartridges</c:v>
                </c:pt>
                <c:pt idx="49">
                  <c:v>Gillette Sensor 3 Disposable Razors 8 Pack</c:v>
                </c:pt>
                <c:pt idx="50">
                  <c:v>Schick Hydro 5 Blade Sensitive Refills 12 Pack</c:v>
                </c:pt>
                <c:pt idx="51">
                  <c:v>Equate Caliber 3 Disposable Razors 3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Gillette Mach 3 Sensitive Skin Disposable Razors 6 Pack</c:v>
                </c:pt>
                <c:pt idx="62">
                  <c:v>Bic Flex 5 Disposable Razors 6 Pack Holiday Pack</c:v>
                </c:pt>
                <c:pt idx="63">
                  <c:v>Gillette Sensor 2 Pivot Head Disposable Razors 25 Pack</c:v>
                </c:pt>
                <c:pt idx="64">
                  <c:v>Gillette Mach 3 Blade Refills 15 Pack</c:v>
                </c:pt>
                <c:pt idx="65">
                  <c:v>Equate Caliber 3 Disposable Razors 6 Pack</c:v>
                </c:pt>
              </c:strCache>
            </c:strRef>
          </c:cat>
          <c:val>
            <c:numRef>
              <c:f>Sheet1!$B$2:$B$67</c:f>
              <c:numCache>
                <c:formatCode>General</c:formatCode>
                <c:ptCount val="66"/>
                <c:pt idx="0">
                  <c:v>0.20386126052493844</c:v>
                </c:pt>
                <c:pt idx="1">
                  <c:v>0.1134711562931938</c:v>
                </c:pt>
                <c:pt idx="2">
                  <c:v>0.10280181423721153</c:v>
                </c:pt>
                <c:pt idx="3">
                  <c:v>0.10253298285147136</c:v>
                </c:pt>
                <c:pt idx="4">
                  <c:v>0.08855269877826855</c:v>
                </c:pt>
                <c:pt idx="5">
                  <c:v>0.0664903351678475</c:v>
                </c:pt>
                <c:pt idx="6">
                  <c:v>0.0549860745141043</c:v>
                </c:pt>
                <c:pt idx="7">
                  <c:v>0.05394153507888622</c:v>
                </c:pt>
                <c:pt idx="8">
                  <c:v>0.05380692864623307</c:v>
                </c:pt>
                <c:pt idx="9">
                  <c:v>0.04866705110079973</c:v>
                </c:pt>
                <c:pt idx="10">
                  <c:v>0.04426998459386342</c:v>
                </c:pt>
                <c:pt idx="11">
                  <c:v>0.04369783748839019</c:v>
                </c:pt>
                <c:pt idx="12">
                  <c:v>0.039335079411322374</c:v>
                </c:pt>
                <c:pt idx="13">
                  <c:v>0.037959072981540776</c:v>
                </c:pt>
                <c:pt idx="14">
                  <c:v>0.035836004142990714</c:v>
                </c:pt>
                <c:pt idx="15">
                  <c:v>0.03496027933403992</c:v>
                </c:pt>
                <c:pt idx="16">
                  <c:v>0.030687979936009878</c:v>
                </c:pt>
                <c:pt idx="17">
                  <c:v>0.02891230326110057</c:v>
                </c:pt>
                <c:pt idx="18">
                  <c:v>0.02811683130892009</c:v>
                </c:pt>
                <c:pt idx="19">
                  <c:v>0.026879484168052904</c:v>
                </c:pt>
                <c:pt idx="20">
                  <c:v>0.026127831376469634</c:v>
                </c:pt>
                <c:pt idx="21">
                  <c:v>0.025626948000963712</c:v>
                </c:pt>
                <c:pt idx="22">
                  <c:v>0.025379960829247865</c:v>
                </c:pt>
                <c:pt idx="23">
                  <c:v>0.02521494706584469</c:v>
                </c:pt>
                <c:pt idx="24">
                  <c:v>0.02298987451189185</c:v>
                </c:pt>
                <c:pt idx="25">
                  <c:v>0.021766093501951654</c:v>
                </c:pt>
                <c:pt idx="26">
                  <c:v>0.021195928214745356</c:v>
                </c:pt>
                <c:pt idx="27">
                  <c:v>0.02114436829945009</c:v>
                </c:pt>
                <c:pt idx="28">
                  <c:v>0.02100755940261658</c:v>
                </c:pt>
                <c:pt idx="29">
                  <c:v>0.02096159762878147</c:v>
                </c:pt>
                <c:pt idx="30">
                  <c:v>0.02080960082172626</c:v>
                </c:pt>
                <c:pt idx="31">
                  <c:v>0.019996040656814817</c:v>
                </c:pt>
                <c:pt idx="32">
                  <c:v>0.01997716246117049</c:v>
                </c:pt>
                <c:pt idx="33">
                  <c:v>0.019123691199234565</c:v>
                </c:pt>
                <c:pt idx="34">
                  <c:v>0.019031584520857393</c:v>
                </c:pt>
                <c:pt idx="35">
                  <c:v>0.01856551372345628</c:v>
                </c:pt>
                <c:pt idx="36">
                  <c:v>0.018422807061528074</c:v>
                </c:pt>
                <c:pt idx="37">
                  <c:v>0.018231334652956583</c:v>
                </c:pt>
                <c:pt idx="38">
                  <c:v>0.018153418393738734</c:v>
                </c:pt>
                <c:pt idx="39">
                  <c:v>0.01799447182286713</c:v>
                </c:pt>
                <c:pt idx="40">
                  <c:v>0.017565186746664754</c:v>
                </c:pt>
                <c:pt idx="41">
                  <c:v>0.016893641121147097</c:v>
                </c:pt>
                <c:pt idx="42">
                  <c:v>0.016836528810662655</c:v>
                </c:pt>
                <c:pt idx="43">
                  <c:v>0.016263378282580673</c:v>
                </c:pt>
                <c:pt idx="44">
                  <c:v>0.016126596677777133</c:v>
                </c:pt>
                <c:pt idx="45">
                  <c:v>0.015986035670810483</c:v>
                </c:pt>
                <c:pt idx="46">
                  <c:v>0.015916368969987618</c:v>
                </c:pt>
                <c:pt idx="47">
                  <c:v>0.015846026932766426</c:v>
                </c:pt>
                <c:pt idx="48">
                  <c:v>0.015559817092008661</c:v>
                </c:pt>
                <c:pt idx="49">
                  <c:v>0.014069083310944013</c:v>
                </c:pt>
                <c:pt idx="50">
                  <c:v>0.013669197862083555</c:v>
                </c:pt>
                <c:pt idx="51">
                  <c:v>0.013596691502265255</c:v>
                </c:pt>
                <c:pt idx="52">
                  <c:v>0.013572340414345392</c:v>
                </c:pt>
                <c:pt idx="53">
                  <c:v>0.013149395030685693</c:v>
                </c:pt>
                <c:pt idx="54">
                  <c:v>0.012840995060629906</c:v>
                </c:pt>
                <c:pt idx="55">
                  <c:v>0.012625119928902685</c:v>
                </c:pt>
                <c:pt idx="56">
                  <c:v>0.012522329113417746</c:v>
                </c:pt>
                <c:pt idx="57">
                  <c:v>0.011943057475558762</c:v>
                </c:pt>
                <c:pt idx="58">
                  <c:v>0.010740761830489515</c:v>
                </c:pt>
                <c:pt idx="59">
                  <c:v>0.010189430729989206</c:v>
                </c:pt>
                <c:pt idx="60">
                  <c:v>0.009244151352207387</c:v>
                </c:pt>
                <c:pt idx="61">
                  <c:v>0.009031977565169847</c:v>
                </c:pt>
                <c:pt idx="62">
                  <c:v>0.009006240766371304</c:v>
                </c:pt>
                <c:pt idx="63">
                  <c:v>0.008980255173055987</c:v>
                </c:pt>
                <c:pt idx="64">
                  <c:v>0.00878174784995276</c:v>
                </c:pt>
                <c:pt idx="65">
                  <c:v>0.007556216764027008</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Equate Caliber 5 Disposable Razors 6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7ECAC4"/>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7ECAC4"/>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7ECAC4"/>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7ECAC4"/>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spPr>
              <a:solidFill>
                <a:srgbClr val="7ECAC4"/>
              </a:solidFill>
            </c:spPr>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7ECAC4"/>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7ECAC4"/>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7ECAC4"/>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006C6D"/>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r>
                      <a:rPr sz="500">
                        <a:solidFill>
                          <a:srgbClr val="006C6D"/>
                        </a:solidFill>
                      </a:rPr>
                      <a:t>Equate Caliber 5 Disposable Razors 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Gillette Sensor 2 Plus Disposable Razors 10 Pack</c:v>
                </c:pt>
                <c:pt idx="32">
                  <c:v>Equate Caliber 5 Disposable Razors 3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Fusion 5 1 Handle + 5 Cartridges</c:v>
                </c:pt>
                <c:pt idx="38">
                  <c:v>Gillette Fusion 5 1 Handle + 7 Cartridges</c:v>
                </c:pt>
                <c:pt idx="39">
                  <c:v>Gillette Sensor 3 Sensitive Disposable Razors 8 Pack</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Schick Hydro 3 Blade Ultra Sensitive 1 Handle + 4 Cartridges</c:v>
                </c:pt>
                <c:pt idx="46">
                  <c:v>Gillette Fusion 5 1 Handle + 3 Cartridges Holiday Pack</c:v>
                </c:pt>
                <c:pt idx="47">
                  <c:v>Bic Flex 4 Sensitive Skin Disposable Razors 3 Pack</c:v>
                </c:pt>
                <c:pt idx="48">
                  <c:v>Gillette Fusion 5 Proglide 1 Handle + 4 Cartridges</c:v>
                </c:pt>
                <c:pt idx="49">
                  <c:v>Gillette Sensor 3 Disposable Razors 8 Pack</c:v>
                </c:pt>
                <c:pt idx="50">
                  <c:v>Equate Caliber 3 Disposable Razors 3 Pack</c:v>
                </c:pt>
                <c:pt idx="51">
                  <c:v>Schick Hydro 5 Blade Sensitive Refills 12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Bic Flex 5 Disposable Razors 6 Pack Holiday Pack</c:v>
                </c:pt>
                <c:pt idx="62">
                  <c:v>Gillette Mach 3 Sensitive Skin Disposable Razors 6 Pack</c:v>
                </c:pt>
                <c:pt idx="63">
                  <c:v>Gillette Sensor 2 Pivot Head Disposable Razors 25 Pack</c:v>
                </c:pt>
                <c:pt idx="64">
                  <c:v>Gillette Mach 3 Blade Refills 15 Pack</c:v>
                </c:pt>
                <c:pt idx="65">
                  <c:v>Equate Caliber 5 Disposable Razors 6 Pack</c:v>
                </c:pt>
              </c:strCache>
            </c:strRef>
          </c:cat>
          <c:val>
            <c:numRef>
              <c:f>Sheet1!$B$2:$B$67</c:f>
              <c:numCache>
                <c:formatCode>General</c:formatCode>
                <c:ptCount val="66"/>
                <c:pt idx="0">
                  <c:v>0.20399010219049157</c:v>
                </c:pt>
                <c:pt idx="1">
                  <c:v>0.11352547918306831</c:v>
                </c:pt>
                <c:pt idx="2">
                  <c:v>0.10266516808474917</c:v>
                </c:pt>
                <c:pt idx="3">
                  <c:v>0.10260220914039468</c:v>
                </c:pt>
                <c:pt idx="4">
                  <c:v>0.0885984126061462</c:v>
                </c:pt>
                <c:pt idx="5">
                  <c:v>0.06653908914345566</c:v>
                </c:pt>
                <c:pt idx="6">
                  <c:v>0.05509652473035256</c:v>
                </c:pt>
                <c:pt idx="7">
                  <c:v>0.05398319689287071</c:v>
                </c:pt>
                <c:pt idx="8">
                  <c:v>0.053808775069338524</c:v>
                </c:pt>
                <c:pt idx="9">
                  <c:v>0.048353416970289415</c:v>
                </c:pt>
                <c:pt idx="10">
                  <c:v>0.04429708063836814</c:v>
                </c:pt>
                <c:pt idx="11">
                  <c:v>0.043751579064542974</c:v>
                </c:pt>
                <c:pt idx="12">
                  <c:v>0.03935299525414529</c:v>
                </c:pt>
                <c:pt idx="13">
                  <c:v>0.03792431394079012</c:v>
                </c:pt>
                <c:pt idx="14">
                  <c:v>0.03583356897449322</c:v>
                </c:pt>
                <c:pt idx="15">
                  <c:v>0.03502199951661737</c:v>
                </c:pt>
                <c:pt idx="16">
                  <c:v>0.030717491772472884</c:v>
                </c:pt>
                <c:pt idx="17">
                  <c:v>0.028940670180281798</c:v>
                </c:pt>
                <c:pt idx="18">
                  <c:v>0.028122449298956298</c:v>
                </c:pt>
                <c:pt idx="19">
                  <c:v>0.026899614263893045</c:v>
                </c:pt>
                <c:pt idx="20">
                  <c:v>0.02596795620507745</c:v>
                </c:pt>
                <c:pt idx="21">
                  <c:v>0.025719604331923215</c:v>
                </c:pt>
                <c:pt idx="22">
                  <c:v>0.025437670986943103</c:v>
                </c:pt>
                <c:pt idx="23">
                  <c:v>0.025131118164285676</c:v>
                </c:pt>
                <c:pt idx="24">
                  <c:v>0.022964143554019743</c:v>
                </c:pt>
                <c:pt idx="25">
                  <c:v>0.021663648209988853</c:v>
                </c:pt>
                <c:pt idx="26">
                  <c:v>0.021608063399050723</c:v>
                </c:pt>
                <c:pt idx="27">
                  <c:v>0.021182064595922985</c:v>
                </c:pt>
                <c:pt idx="28">
                  <c:v>0.021138491807265757</c:v>
                </c:pt>
                <c:pt idx="29">
                  <c:v>0.020889935834181344</c:v>
                </c:pt>
                <c:pt idx="30">
                  <c:v>0.02073948648680331</c:v>
                </c:pt>
                <c:pt idx="31">
                  <c:v>0.019882521897617907</c:v>
                </c:pt>
                <c:pt idx="32">
                  <c:v>0.019840941653394756</c:v>
                </c:pt>
                <c:pt idx="33">
                  <c:v>0.019106340715443683</c:v>
                </c:pt>
                <c:pt idx="34">
                  <c:v>0.018872389978709776</c:v>
                </c:pt>
                <c:pt idx="35">
                  <c:v>0.01867276844470626</c:v>
                </c:pt>
                <c:pt idx="36">
                  <c:v>0.018591485324166847</c:v>
                </c:pt>
                <c:pt idx="37">
                  <c:v>0.01834240901097801</c:v>
                </c:pt>
                <c:pt idx="38">
                  <c:v>0.01810993865854149</c:v>
                </c:pt>
                <c:pt idx="39">
                  <c:v>0.01810973065942919</c:v>
                </c:pt>
                <c:pt idx="40">
                  <c:v>0.017575285495960054</c:v>
                </c:pt>
                <c:pt idx="41">
                  <c:v>0.016856823017600206</c:v>
                </c:pt>
                <c:pt idx="42">
                  <c:v>0.016815586701766867</c:v>
                </c:pt>
                <c:pt idx="43">
                  <c:v>0.016246456623624818</c:v>
                </c:pt>
                <c:pt idx="44">
                  <c:v>0.016042269085767034</c:v>
                </c:pt>
                <c:pt idx="45">
                  <c:v>0.015983966801518826</c:v>
                </c:pt>
                <c:pt idx="46">
                  <c:v>0.01581079243586744</c:v>
                </c:pt>
                <c:pt idx="47">
                  <c:v>0.015809059474953997</c:v>
                </c:pt>
                <c:pt idx="48">
                  <c:v>0.015525577652616616</c:v>
                </c:pt>
                <c:pt idx="49">
                  <c:v>0.01397861681633663</c:v>
                </c:pt>
                <c:pt idx="50">
                  <c:v>0.013739550502183376</c:v>
                </c:pt>
                <c:pt idx="51">
                  <c:v>0.013679597571664856</c:v>
                </c:pt>
                <c:pt idx="52">
                  <c:v>0.013534268027540788</c:v>
                </c:pt>
                <c:pt idx="53">
                  <c:v>0.012975407893370886</c:v>
                </c:pt>
                <c:pt idx="54">
                  <c:v>0.012667904063845225</c:v>
                </c:pt>
                <c:pt idx="55">
                  <c:v>0.012578890142057087</c:v>
                </c:pt>
                <c:pt idx="56">
                  <c:v>0.01238385914517826</c:v>
                </c:pt>
                <c:pt idx="57">
                  <c:v>0.011918293118662715</c:v>
                </c:pt>
                <c:pt idx="58">
                  <c:v>0.01065904998239813</c:v>
                </c:pt>
                <c:pt idx="59">
                  <c:v>0.010175008318044904</c:v>
                </c:pt>
                <c:pt idx="60">
                  <c:v>0.009225816063386304</c:v>
                </c:pt>
                <c:pt idx="61">
                  <c:v>0.008977601646866092</c:v>
                </c:pt>
                <c:pt idx="62">
                  <c:v>0.008965891789529782</c:v>
                </c:pt>
                <c:pt idx="63">
                  <c:v>0.008906936509243244</c:v>
                </c:pt>
                <c:pt idx="64">
                  <c:v>0.008785515318733332</c:v>
                </c:pt>
                <c:pt idx="65">
                  <c:v>0.00818712896711459</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Equate 5 Blades 1 Handle + 2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7ECAC4"/>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7ECAC4"/>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7ECAC4"/>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7ECAC4"/>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7ECAC4"/>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7ECAC4"/>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7ECAC4"/>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006C6D"/>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r>
                      <a:rPr sz="500">
                        <a:solidFill>
                          <a:srgbClr val="006C6D"/>
                        </a:solidFill>
                      </a:rPr>
                      <a:t>Equate 5 Blades 1 Handle + 2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Van Der Hagen Men Double Edge Blade Refills 10 Pack</c:v>
                </c:pt>
                <c:pt idx="11">
                  <c:v>Dollar Shave Club 6 Blades Blade Refills 4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Gillette Sensor 3 Disposable Razors 12 Pack</c:v>
                </c:pt>
                <c:pt idx="34">
                  <c:v>Equate Speed 3 Disposable Razors 8 Pack</c:v>
                </c:pt>
                <c:pt idx="35">
                  <c:v>Dollar Shave Club 6 1 Handle + 2 Blades</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Bic Flex 4 Sensitive Skin Disposable Razors 3 Pack</c:v>
                </c:pt>
                <c:pt idx="46">
                  <c:v>Gillette Fusion 5 1 Handle + 3 Cartridges Holiday Pack</c:v>
                </c:pt>
                <c:pt idx="47">
                  <c:v>Schick Hydro 3 Blade Ultra Sensitive 1 Handle + 4 Cartridges</c:v>
                </c:pt>
                <c:pt idx="48">
                  <c:v>Gillette Fusion 5 Proglide 1 Handle + 4 Cartridges</c:v>
                </c:pt>
                <c:pt idx="49">
                  <c:v>Gillette Sensor 3 Disposable Razors 8 Pack</c:v>
                </c:pt>
                <c:pt idx="50">
                  <c:v>Equate Caliber 3 Disposable Razors 3 Pack</c:v>
                </c:pt>
                <c:pt idx="51">
                  <c:v>Schick Hydro 5 Blade Sensitive Refills 12 Pack</c:v>
                </c:pt>
                <c:pt idx="52">
                  <c:v>Equate Easy Fit 5 Blade Refills 12 Pack</c:v>
                </c:pt>
                <c:pt idx="53">
                  <c:v>Bic Men Sensitive Twin Blade Disposable Razors 10 Pack</c:v>
                </c:pt>
                <c:pt idx="54">
                  <c:v>Bic Flex 5 Disposable Razors 4 Pack</c:v>
                </c:pt>
                <c:pt idx="55">
                  <c:v>Bic Comfort 3 Sensitive Skin Disposable Razors 8 Pack</c:v>
                </c:pt>
                <c:pt idx="56">
                  <c:v>Equate Easy Fit 5 blades 1 Handle + 2 Cartridges</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Gillette Mach 3 Sensitive Skin Disposable Razors 6 Pack</c:v>
                </c:pt>
                <c:pt idx="62">
                  <c:v>Bic Flex 5 Disposable Razors 6 Pack Holiday Pack</c:v>
                </c:pt>
                <c:pt idx="63">
                  <c:v>Gillette Sensor 2 Pivot Head Disposable Razors 25 Pack</c:v>
                </c:pt>
                <c:pt idx="64">
                  <c:v>Gillette Mach 3 Blade Refills 15 Pack</c:v>
                </c:pt>
                <c:pt idx="65">
                  <c:v>Equate 5 Blades 1 Handle + 2 Cartridges</c:v>
                </c:pt>
              </c:strCache>
            </c:strRef>
          </c:cat>
          <c:val>
            <c:numRef>
              <c:f>Sheet1!$B$2:$B$67</c:f>
              <c:numCache>
                <c:formatCode>General</c:formatCode>
                <c:ptCount val="66"/>
                <c:pt idx="0">
                  <c:v>0.20354791620655321</c:v>
                </c:pt>
                <c:pt idx="1">
                  <c:v>0.11337466477624257</c:v>
                </c:pt>
                <c:pt idx="2">
                  <c:v>0.1031079352193806</c:v>
                </c:pt>
                <c:pt idx="3">
                  <c:v>0.10276211421037582</c:v>
                </c:pt>
                <c:pt idx="4">
                  <c:v>0.0890026661747316</c:v>
                </c:pt>
                <c:pt idx="5">
                  <c:v>0.06646719779566429</c:v>
                </c:pt>
                <c:pt idx="6">
                  <c:v>0.05478351944134793</c:v>
                </c:pt>
                <c:pt idx="7">
                  <c:v>0.05386778377951918</c:v>
                </c:pt>
                <c:pt idx="8">
                  <c:v>0.053826484933400816</c:v>
                </c:pt>
                <c:pt idx="9">
                  <c:v>0.04829135630476104</c:v>
                </c:pt>
                <c:pt idx="10">
                  <c:v>0.04391424296040739</c:v>
                </c:pt>
                <c:pt idx="11">
                  <c:v>0.04358514695220116</c:v>
                </c:pt>
                <c:pt idx="12">
                  <c:v>0.039534190893810044</c:v>
                </c:pt>
                <c:pt idx="13">
                  <c:v>0.037588478289928666</c:v>
                </c:pt>
                <c:pt idx="14">
                  <c:v>0.035851147993042</c:v>
                </c:pt>
                <c:pt idx="15">
                  <c:v>0.03481604563193837</c:v>
                </c:pt>
                <c:pt idx="16">
                  <c:v>0.03066425696663223</c:v>
                </c:pt>
                <c:pt idx="17">
                  <c:v>0.02898882219694141</c:v>
                </c:pt>
                <c:pt idx="18">
                  <c:v>0.028260275856054645</c:v>
                </c:pt>
                <c:pt idx="19">
                  <c:v>0.02702949055741608</c:v>
                </c:pt>
                <c:pt idx="20">
                  <c:v>0.025975909939234914</c:v>
                </c:pt>
                <c:pt idx="21">
                  <c:v>0.025812742011858864</c:v>
                </c:pt>
                <c:pt idx="22">
                  <c:v>0.025413906115082215</c:v>
                </c:pt>
                <c:pt idx="23">
                  <c:v>0.024927848499283617</c:v>
                </c:pt>
                <c:pt idx="24">
                  <c:v>0.022749438254679125</c:v>
                </c:pt>
                <c:pt idx="25">
                  <c:v>0.02191430936608701</c:v>
                </c:pt>
                <c:pt idx="26">
                  <c:v>0.021647423292341515</c:v>
                </c:pt>
                <c:pt idx="27">
                  <c:v>0.021352954182723632</c:v>
                </c:pt>
                <c:pt idx="28">
                  <c:v>0.021158571114835784</c:v>
                </c:pt>
                <c:pt idx="29">
                  <c:v>0.021038520843994032</c:v>
                </c:pt>
                <c:pt idx="30">
                  <c:v>0.020716139001799826</c:v>
                </c:pt>
                <c:pt idx="31">
                  <c:v>0.02026894227666158</c:v>
                </c:pt>
                <c:pt idx="32">
                  <c:v>0.020002000220682707</c:v>
                </c:pt>
                <c:pt idx="33">
                  <c:v>0.01909305577309253</c:v>
                </c:pt>
                <c:pt idx="34">
                  <c:v>0.018858965383009754</c:v>
                </c:pt>
                <c:pt idx="35">
                  <c:v>0.0187020890408381</c:v>
                </c:pt>
                <c:pt idx="36">
                  <c:v>0.01868095669485092</c:v>
                </c:pt>
                <c:pt idx="37">
                  <c:v>0.018352246115481242</c:v>
                </c:pt>
                <c:pt idx="38">
                  <c:v>0.018310688736254827</c:v>
                </c:pt>
                <c:pt idx="39">
                  <c:v>0.01811810261295705</c:v>
                </c:pt>
                <c:pt idx="40">
                  <c:v>0.017393253697350234</c:v>
                </c:pt>
                <c:pt idx="41">
                  <c:v>0.0167982530700211</c:v>
                </c:pt>
                <c:pt idx="42">
                  <c:v>0.016611424301603898</c:v>
                </c:pt>
                <c:pt idx="43">
                  <c:v>0.01634619791431431</c:v>
                </c:pt>
                <c:pt idx="44">
                  <c:v>0.016195276960027635</c:v>
                </c:pt>
                <c:pt idx="45">
                  <c:v>0.015908536691063943</c:v>
                </c:pt>
                <c:pt idx="46">
                  <c:v>0.015848473376054138</c:v>
                </c:pt>
                <c:pt idx="47">
                  <c:v>0.0157488421158537</c:v>
                </c:pt>
                <c:pt idx="48">
                  <c:v>0.015502122844095287</c:v>
                </c:pt>
                <c:pt idx="49">
                  <c:v>0.014120454415068491</c:v>
                </c:pt>
                <c:pt idx="50">
                  <c:v>0.013809349086422496</c:v>
                </c:pt>
                <c:pt idx="51">
                  <c:v>0.013708500589470709</c:v>
                </c:pt>
                <c:pt idx="52">
                  <c:v>0.013550862645390216</c:v>
                </c:pt>
                <c:pt idx="53">
                  <c:v>0.013180941231811143</c:v>
                </c:pt>
                <c:pt idx="54">
                  <c:v>0.012673534902720497</c:v>
                </c:pt>
                <c:pt idx="55">
                  <c:v>0.01257387484730215</c:v>
                </c:pt>
                <c:pt idx="56">
                  <c:v>0.0124690157093575</c:v>
                </c:pt>
                <c:pt idx="57">
                  <c:v>0.011987242147357201</c:v>
                </c:pt>
                <c:pt idx="58">
                  <c:v>0.010749021200109824</c:v>
                </c:pt>
                <c:pt idx="59">
                  <c:v>0.010239795640634073</c:v>
                </c:pt>
                <c:pt idx="60">
                  <c:v>0.009185103099964153</c:v>
                </c:pt>
                <c:pt idx="61">
                  <c:v>0.009046680494213786</c:v>
                </c:pt>
                <c:pt idx="62">
                  <c:v>0.009027132946712351</c:v>
                </c:pt>
                <c:pt idx="63">
                  <c:v>0.008985394320070717</c:v>
                </c:pt>
                <c:pt idx="64">
                  <c:v>0.008808438146079126</c:v>
                </c:pt>
                <c:pt idx="65">
                  <c:v>0.007173730990833005</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Sensitive Refills 4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006C6D"/>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7ECAC4"/>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7ECAC4"/>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7ECAC4"/>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7ECAC4"/>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7ECAC4"/>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r>
                      <a:rPr sz="500">
                        <a:solidFill>
                          <a:srgbClr val="006C6D"/>
                        </a:solidFill>
                      </a:rPr>
                      <a:t>Schick Hydro 5 Blade Sensitive Refills 4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Harry's Men Five Blade Refills 12 Pack</c:v>
                </c:pt>
                <c:pt idx="17">
                  <c:v>Gillette Fusion 5 Blade Refills 12 Pack</c:v>
                </c:pt>
                <c:pt idx="18">
                  <c:v>Schick Hydro 5 Blade Sensitive Refills 4 Pack</c:v>
                </c:pt>
                <c:pt idx="19">
                  <c:v>Gillette Fusion 5 Proglide Blade Refills 12 Pack</c:v>
                </c:pt>
                <c:pt idx="20">
                  <c:v>Gillette Fusion 5 1 Handle + 2 Cartridges</c:v>
                </c:pt>
                <c:pt idx="21">
                  <c:v>Schick Xtreme 3 Sensitive Disposable Razors 4 Pack</c:v>
                </c:pt>
                <c:pt idx="22">
                  <c:v>Schick Hydro 5 Blade Sensitive Refills 6 Pack</c:v>
                </c:pt>
                <c:pt idx="23">
                  <c:v>Schick Xtreme 2 Sensitive Disposable Razors 12 Pack</c:v>
                </c:pt>
                <c:pt idx="24">
                  <c:v>Gillette Mach 3 1 Handle + 2 Cartridges</c:v>
                </c:pt>
                <c:pt idx="25">
                  <c:v>Harry's 5 Blade 1 Handle + 5 Cartridges</c:v>
                </c:pt>
                <c:pt idx="26">
                  <c:v>Gillette Sensor 3 Sensitive Disposable Razors 4 Pack</c:v>
                </c:pt>
                <c:pt idx="27">
                  <c:v>Equate Speed 3 Disposable Razors 4 Pack</c:v>
                </c:pt>
                <c:pt idx="28">
                  <c:v>Gillette Mach 3 Sensitive Skin Disposable Razors 3 Pack</c:v>
                </c:pt>
                <c:pt idx="29">
                  <c:v>Bic 3 Sensitive Disposable Razors 5 Pack</c:v>
                </c:pt>
                <c:pt idx="30">
                  <c:v>Gillette Sensor 2 Pivot Head Disposable Razors 12 Pack</c:v>
                </c:pt>
                <c:pt idx="31">
                  <c:v>Equate Caliber 5 Disposable Razors 3 Pack</c:v>
                </c:pt>
                <c:pt idx="32">
                  <c:v>Equate Easy Fit 5 Blade Refills 8 Pack</c:v>
                </c:pt>
                <c:pt idx="33">
                  <c:v>Gillette Sensor 2 Plus Disposable Razors 10 Pack</c:v>
                </c:pt>
                <c:pt idx="34">
                  <c:v>Dollar Shave Club 6 1 Handle + 2 Blades</c:v>
                </c:pt>
                <c:pt idx="35">
                  <c:v>Gillette Sensor 3 Disposable Razors 12 Pack</c:v>
                </c:pt>
                <c:pt idx="36">
                  <c:v>Equate Speed 3 Disposable Razors 8 Pack</c:v>
                </c:pt>
                <c:pt idx="37">
                  <c:v>Bic Comfort 3 Sensitive Skin Disposable Razors 4 Pack</c:v>
                </c:pt>
                <c:pt idx="38">
                  <c:v>Gillette Fusion 5 1 Handle + 5 Cartridges</c:v>
                </c:pt>
                <c:pt idx="39">
                  <c:v>Gillette Sensor 3 Sensitive Disposable Razors 8 Pack</c:v>
                </c:pt>
                <c:pt idx="40">
                  <c:v>Gillette Fusion 5 1 Handle + 7 Cartridges</c:v>
                </c:pt>
                <c:pt idx="41">
                  <c:v>Dollar Shave Club 6 Blades Blade Refills 8 Pack</c:v>
                </c:pt>
                <c:pt idx="42">
                  <c:v>Schick Hydro 5 Blade Sensitive 1 Handle + 3 Cartridges</c:v>
                </c:pt>
                <c:pt idx="43">
                  <c:v>Gillette Mach 3 1 Handle + 6 Cartridges</c:v>
                </c:pt>
                <c:pt idx="44">
                  <c:v>Schick Xtreme 3 Sensitive Disposable Razors 8 Pack</c:v>
                </c:pt>
                <c:pt idx="45">
                  <c:v>Gillette Sensor 3 Sensitive Disposable Razors 12 Pack</c:v>
                </c:pt>
                <c:pt idx="46">
                  <c:v>Schick Hydro 3 Blade Ultra Sensitive 1 Handle + 4 Cartridges</c:v>
                </c:pt>
                <c:pt idx="47">
                  <c:v>Bic Flex 4 Sensitive Skin Disposable Razors 3 Pack</c:v>
                </c:pt>
                <c:pt idx="48">
                  <c:v>Gillette Fusion 5 1 Handle + 3 Cartridges Holiday Pack</c:v>
                </c:pt>
                <c:pt idx="49">
                  <c:v>Gillette Fusion 5 Proglide 1 Handle + 4 Cartridges</c:v>
                </c:pt>
                <c:pt idx="50">
                  <c:v>Gillette Sensor 3 Disposable Razors 8 Pack</c:v>
                </c:pt>
                <c:pt idx="51">
                  <c:v>Equate Caliber 3 Disposable Razors 3 Pack</c:v>
                </c:pt>
                <c:pt idx="52">
                  <c:v>Equate Easy Fit 5 Blade Refills 12 Pack</c:v>
                </c:pt>
                <c:pt idx="53">
                  <c:v>Bic Men Sensitive Twin Blade Disposable Razors 10 Pack</c:v>
                </c:pt>
                <c:pt idx="54">
                  <c:v>Schick Hydro 5 Blade Sensitive Refills 12 Pack</c:v>
                </c:pt>
                <c:pt idx="55">
                  <c:v>Equate Easy Fit 5 blades 1 Handle + 2 Cartridges</c:v>
                </c:pt>
                <c:pt idx="56">
                  <c:v>Bic Flex 5 Disposable Razors 4 Pack</c:v>
                </c:pt>
                <c:pt idx="57">
                  <c:v>Bic Comfort 3 Sensitive Skin Disposable Razors 8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20029736085083452</c:v>
                </c:pt>
                <c:pt idx="1">
                  <c:v>0.11381600361434044</c:v>
                </c:pt>
                <c:pt idx="2">
                  <c:v>0.10103583225772547</c:v>
                </c:pt>
                <c:pt idx="3">
                  <c:v>0.10084314021256113</c:v>
                </c:pt>
                <c:pt idx="4">
                  <c:v>0.08700697822842438</c:v>
                </c:pt>
                <c:pt idx="5">
                  <c:v>0.0653217417462338</c:v>
                </c:pt>
                <c:pt idx="6">
                  <c:v>0.05522062888107987</c:v>
                </c:pt>
                <c:pt idx="7">
                  <c:v>0.054106514678785786</c:v>
                </c:pt>
                <c:pt idx="8">
                  <c:v>0.05404953714119129</c:v>
                </c:pt>
                <c:pt idx="9">
                  <c:v>0.04787426126543305</c:v>
                </c:pt>
                <c:pt idx="10">
                  <c:v>0.043547696955758934</c:v>
                </c:pt>
                <c:pt idx="11">
                  <c:v>0.042947534296508154</c:v>
                </c:pt>
                <c:pt idx="12">
                  <c:v>0.03864452229157001</c:v>
                </c:pt>
                <c:pt idx="13">
                  <c:v>0.03798975407203131</c:v>
                </c:pt>
                <c:pt idx="14">
                  <c:v>0.03523267152660149</c:v>
                </c:pt>
                <c:pt idx="15">
                  <c:v>0.02882859245411884</c:v>
                </c:pt>
                <c:pt idx="16">
                  <c:v>0.02840248265626569</c:v>
                </c:pt>
                <c:pt idx="17">
                  <c:v>0.027620040302012344</c:v>
                </c:pt>
                <c:pt idx="18">
                  <c:v>0.027357785125905896</c:v>
                </c:pt>
                <c:pt idx="19">
                  <c:v>0.026407637851114128</c:v>
                </c:pt>
                <c:pt idx="20">
                  <c:v>0.026167244487973765</c:v>
                </c:pt>
                <c:pt idx="21">
                  <c:v>0.02599890398591094</c:v>
                </c:pt>
                <c:pt idx="22">
                  <c:v>0.025937452167729885</c:v>
                </c:pt>
                <c:pt idx="23">
                  <c:v>0.02559788750613814</c:v>
                </c:pt>
                <c:pt idx="24">
                  <c:v>0.0252777296292383</c:v>
                </c:pt>
                <c:pt idx="25">
                  <c:v>0.023014238195746925</c:v>
                </c:pt>
                <c:pt idx="26">
                  <c:v>0.02200852703453577</c:v>
                </c:pt>
                <c:pt idx="27">
                  <c:v>0.02183390914704562</c:v>
                </c:pt>
                <c:pt idx="28">
                  <c:v>0.021435531568050267</c:v>
                </c:pt>
                <c:pt idx="29">
                  <c:v>0.021305572199156183</c:v>
                </c:pt>
                <c:pt idx="30">
                  <c:v>0.021091316480521656</c:v>
                </c:pt>
                <c:pt idx="31">
                  <c:v>0.020503930301424833</c:v>
                </c:pt>
                <c:pt idx="32">
                  <c:v>0.02046499814089016</c:v>
                </c:pt>
                <c:pt idx="33">
                  <c:v>0.020081002689506865</c:v>
                </c:pt>
                <c:pt idx="34">
                  <c:v>0.019191092247805762</c:v>
                </c:pt>
                <c:pt idx="35">
                  <c:v>0.019153878549908892</c:v>
                </c:pt>
                <c:pt idx="36">
                  <c:v>0.018931020722248098</c:v>
                </c:pt>
                <c:pt idx="37">
                  <c:v>0.018795764473460205</c:v>
                </c:pt>
                <c:pt idx="38">
                  <c:v>0.0184487686445965</c:v>
                </c:pt>
                <c:pt idx="39">
                  <c:v>0.0183746448661405</c:v>
                </c:pt>
                <c:pt idx="40">
                  <c:v>0.018171885914178763</c:v>
                </c:pt>
                <c:pt idx="41">
                  <c:v>0.01727615189572988</c:v>
                </c:pt>
                <c:pt idx="42">
                  <c:v>0.01693816747365398</c:v>
                </c:pt>
                <c:pt idx="43">
                  <c:v>0.016936924368398717</c:v>
                </c:pt>
                <c:pt idx="44">
                  <c:v>0.01643146948443865</c:v>
                </c:pt>
                <c:pt idx="45">
                  <c:v>0.016249044118542527</c:v>
                </c:pt>
                <c:pt idx="46">
                  <c:v>0.016104184116666306</c:v>
                </c:pt>
                <c:pt idx="47">
                  <c:v>0.016008831135195356</c:v>
                </c:pt>
                <c:pt idx="48">
                  <c:v>0.01595375216214229</c:v>
                </c:pt>
                <c:pt idx="49">
                  <c:v>0.015585336955491831</c:v>
                </c:pt>
                <c:pt idx="50">
                  <c:v>0.014179920959166504</c:v>
                </c:pt>
                <c:pt idx="51">
                  <c:v>0.013936292766614235</c:v>
                </c:pt>
                <c:pt idx="52">
                  <c:v>0.01334454390726878</c:v>
                </c:pt>
                <c:pt idx="53">
                  <c:v>0.013233299218931632</c:v>
                </c:pt>
                <c:pt idx="54">
                  <c:v>0.012971521890448237</c:v>
                </c:pt>
                <c:pt idx="55">
                  <c:v>0.012914344731355517</c:v>
                </c:pt>
                <c:pt idx="56">
                  <c:v>0.012721126291234374</c:v>
                </c:pt>
                <c:pt idx="57">
                  <c:v>0.01262470414964072</c:v>
                </c:pt>
                <c:pt idx="58">
                  <c:v>0.012073179704858734</c:v>
                </c:pt>
                <c:pt idx="59">
                  <c:v>0.0108002658734992</c:v>
                </c:pt>
                <c:pt idx="60">
                  <c:v>0.01029411740692894</c:v>
                </c:pt>
                <c:pt idx="61">
                  <c:v>0.009253005339451946</c:v>
                </c:pt>
                <c:pt idx="62">
                  <c:v>0.009088815653903768</c:v>
                </c:pt>
                <c:pt idx="63">
                  <c:v>0.009079531228981554</c:v>
                </c:pt>
                <c:pt idx="64">
                  <c:v>0.009028399829886631</c:v>
                </c:pt>
                <c:pt idx="65">
                  <c:v>0.00863705397686545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Equate Easy Fit 5 blades 1 Handle + 5 Cartridges</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7ECAC4"/>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7ECAC4"/>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7ECAC4"/>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7ECAC4"/>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7ECAC4"/>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006C6D"/>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r>
                      <a:rPr sz="500">
                        <a:solidFill>
                          <a:srgbClr val="006C6D"/>
                        </a:solidFill>
                      </a:rPr>
                      <a:t>Equate Easy Fit 5 blades 1 Handle + 5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Mach 3 Blade Refills 4 Pack</c:v>
                </c:pt>
                <c:pt idx="3">
                  <c:v>Gillette Fusion 5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Schick Xtreme 3 Sensitive Disposable Razors 4 Pack</c:v>
                </c:pt>
                <c:pt idx="21">
                  <c:v>Gillette Fusion 5 1 Handle + 2 Cartridges</c:v>
                </c:pt>
                <c:pt idx="22">
                  <c:v>Schick Xtreme 2 Sensitive Disposable Razors 12 Pack</c:v>
                </c:pt>
                <c:pt idx="23">
                  <c:v>Gillette Mach 3 1 Handle + 2 Cartridges</c:v>
                </c:pt>
                <c:pt idx="24">
                  <c:v>Harry's 5 Blade 1 Handle + 5 Cartridges</c:v>
                </c:pt>
                <c:pt idx="25">
                  <c:v>Equate Easy Fit 5 Blade Refills 8 Pack</c:v>
                </c:pt>
                <c:pt idx="26">
                  <c:v>Gillette Sensor 3 Sensitive Disposable Razors 4 Pack</c:v>
                </c:pt>
                <c:pt idx="27">
                  <c:v>Equate Speed 3 Disposable Razors 4 Pack</c:v>
                </c:pt>
                <c:pt idx="28">
                  <c:v>Gillette Mach 3 Sensitive Skin Disposable Razors 3 Pack</c:v>
                </c:pt>
                <c:pt idx="29">
                  <c:v>Bic 3 Sensitive Disposable Razors 5 Pack</c:v>
                </c:pt>
                <c:pt idx="30">
                  <c:v>Gillette Sensor 2 Pivot Head Disposable Razors 12 Pack</c:v>
                </c:pt>
                <c:pt idx="31">
                  <c:v>Equate Caliber 5 Disposable Razors 3 Pack</c:v>
                </c:pt>
                <c:pt idx="32">
                  <c:v>Gillette Sensor 2 Plus Disposable Razors 10 Pack</c:v>
                </c:pt>
                <c:pt idx="33">
                  <c:v>Gillette Sensor 3 Disposable Razors 12 Pack</c:v>
                </c:pt>
                <c:pt idx="34">
                  <c:v>Dollar Shave Club 6 1 Handle + 2 Blades</c:v>
                </c:pt>
                <c:pt idx="35">
                  <c:v>Equate Speed 3 Disposable Razors 8 Pack</c:v>
                </c:pt>
                <c:pt idx="36">
                  <c:v>Bic Comfort 3 Sensitive Skin Disposable Razors 4 Pack</c:v>
                </c:pt>
                <c:pt idx="37">
                  <c:v>Gillette Sensor 3 Sensitive Disposable Razors 8 Pack</c:v>
                </c:pt>
                <c:pt idx="38">
                  <c:v>Gillette Fusion 5 1 Handle + 5 Cartridges</c:v>
                </c:pt>
                <c:pt idx="39">
                  <c:v>Gillette Fusion 5 1 Handle + 7 Cartridges</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Bic Flex 4 Sensitive Skin Disposable Razors 3 Pack</c:v>
                </c:pt>
                <c:pt idx="46">
                  <c:v>Schick Hydro 3 Blade Ultra Sensitive 1 Handle + 4 Cartridges</c:v>
                </c:pt>
                <c:pt idx="47">
                  <c:v>Gillette Fusion 5 1 Handle + 3 Cartridges Holiday Pack</c:v>
                </c:pt>
                <c:pt idx="48">
                  <c:v>Gillette Fusion 5 Proglide 1 Handle + 4 Cartridges</c:v>
                </c:pt>
                <c:pt idx="49">
                  <c:v>Equate Easy Fit 5 Blade Refills 12 Pack</c:v>
                </c:pt>
                <c:pt idx="50">
                  <c:v>Gillette Sensor 3 Disposable Razors 8 Pack</c:v>
                </c:pt>
                <c:pt idx="51">
                  <c:v>Equate Caliber 3 Disposable Razors 3 Pack</c:v>
                </c:pt>
                <c:pt idx="52">
                  <c:v>Schick Hydro 5 Blade Sensitive Refills 12 Pack</c:v>
                </c:pt>
                <c:pt idx="53">
                  <c:v>Bic Men Sensitive Twin Blade Disposable Razors 10 Pack</c:v>
                </c:pt>
                <c:pt idx="54">
                  <c:v>Bic Flex 5 Disposable Razors 4 Pack</c:v>
                </c:pt>
                <c:pt idx="55">
                  <c:v>Bic Comfort 3 Sensitive Skin Disposable Razors 8 Pack</c:v>
                </c:pt>
                <c:pt idx="56">
                  <c:v>Equate Easy Fit 5 blades 1 Handle + 2 Cartridges</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Gillette Mach 3 Sensitive Skin Disposable Razors 6 Pack</c:v>
                </c:pt>
                <c:pt idx="62">
                  <c:v>Bic Flex 5 Disposable Razors 6 Pack Holiday Pack</c:v>
                </c:pt>
                <c:pt idx="63">
                  <c:v>Gillette Sensor 2 Pivot Head Disposable Razors 25 Pack</c:v>
                </c:pt>
                <c:pt idx="64">
                  <c:v>Gillette Mach 3 Blade Refills 15 Pack</c:v>
                </c:pt>
                <c:pt idx="65">
                  <c:v>Equate Easy Fit 5 blades 1 Handle + 5 Cartridges</c:v>
                </c:pt>
              </c:strCache>
            </c:strRef>
          </c:cat>
          <c:val>
            <c:numRef>
              <c:f>Sheet1!$B$2:$B$67</c:f>
              <c:numCache>
                <c:formatCode>General</c:formatCode>
                <c:ptCount val="66"/>
                <c:pt idx="0">
                  <c:v>0.20299561541359665</c:v>
                </c:pt>
                <c:pt idx="1">
                  <c:v>0.11310870106283692</c:v>
                </c:pt>
                <c:pt idx="2">
                  <c:v>0.10206810708958551</c:v>
                </c:pt>
                <c:pt idx="3">
                  <c:v>0.1014941769537206</c:v>
                </c:pt>
                <c:pt idx="4">
                  <c:v>0.08808426928542003</c:v>
                </c:pt>
                <c:pt idx="5">
                  <c:v>0.06610566350113391</c:v>
                </c:pt>
                <c:pt idx="6">
                  <c:v>0.05511130673902406</c:v>
                </c:pt>
                <c:pt idx="7">
                  <c:v>0.05399547248644764</c:v>
                </c:pt>
                <c:pt idx="8">
                  <c:v>0.05395145220008958</c:v>
                </c:pt>
                <c:pt idx="9">
                  <c:v>0.05153059271923826</c:v>
                </c:pt>
                <c:pt idx="10">
                  <c:v>0.04392518871943514</c:v>
                </c:pt>
                <c:pt idx="11">
                  <c:v>0.04352399265100461</c:v>
                </c:pt>
                <c:pt idx="12">
                  <c:v>0.03911127763077551</c:v>
                </c:pt>
                <c:pt idx="13">
                  <c:v>0.03771258290202893</c:v>
                </c:pt>
                <c:pt idx="14">
                  <c:v>0.0355649374604875</c:v>
                </c:pt>
                <c:pt idx="15">
                  <c:v>0.03489759389583597</c:v>
                </c:pt>
                <c:pt idx="16">
                  <c:v>0.030542778882645755</c:v>
                </c:pt>
                <c:pt idx="17">
                  <c:v>0.028836992449272597</c:v>
                </c:pt>
                <c:pt idx="18">
                  <c:v>0.02792408978169858</c:v>
                </c:pt>
                <c:pt idx="19">
                  <c:v>0.026753138843207493</c:v>
                </c:pt>
                <c:pt idx="20">
                  <c:v>0.02592361651828612</c:v>
                </c:pt>
                <c:pt idx="21">
                  <c:v>0.025565963244185617</c:v>
                </c:pt>
                <c:pt idx="22">
                  <c:v>0.025502976013192704</c:v>
                </c:pt>
                <c:pt idx="23">
                  <c:v>0.02492509389523051</c:v>
                </c:pt>
                <c:pt idx="24">
                  <c:v>0.022805161811545023</c:v>
                </c:pt>
                <c:pt idx="25">
                  <c:v>0.022334882739955552</c:v>
                </c:pt>
                <c:pt idx="26">
                  <c:v>0.02194518639094288</c:v>
                </c:pt>
                <c:pt idx="27">
                  <c:v>0.02178672263678397</c:v>
                </c:pt>
                <c:pt idx="28">
                  <c:v>0.02138571077105352</c:v>
                </c:pt>
                <c:pt idx="29">
                  <c:v>0.02122224940469447</c:v>
                </c:pt>
                <c:pt idx="30">
                  <c:v>0.021039373361363405</c:v>
                </c:pt>
                <c:pt idx="31">
                  <c:v>0.020344338888379755</c:v>
                </c:pt>
                <c:pt idx="32">
                  <c:v>0.020020955901305242</c:v>
                </c:pt>
                <c:pt idx="33">
                  <c:v>0.01907813971901004</c:v>
                </c:pt>
                <c:pt idx="34">
                  <c:v>0.01900859417106555</c:v>
                </c:pt>
                <c:pt idx="35">
                  <c:v>0.01890520207576754</c:v>
                </c:pt>
                <c:pt idx="36">
                  <c:v>0.01873934993728444</c:v>
                </c:pt>
                <c:pt idx="37">
                  <c:v>0.0183078416873805</c:v>
                </c:pt>
                <c:pt idx="38">
                  <c:v>0.018103753854343412</c:v>
                </c:pt>
                <c:pt idx="39">
                  <c:v>0.017954813028426296</c:v>
                </c:pt>
                <c:pt idx="40">
                  <c:v>0.017467454583855544</c:v>
                </c:pt>
                <c:pt idx="41">
                  <c:v>0.01674632697854949</c:v>
                </c:pt>
                <c:pt idx="42">
                  <c:v>0.01667160086430744</c:v>
                </c:pt>
                <c:pt idx="43">
                  <c:v>0.016372424662105454</c:v>
                </c:pt>
                <c:pt idx="44">
                  <c:v>0.01619265303624588</c:v>
                </c:pt>
                <c:pt idx="45">
                  <c:v>0.015947731573344306</c:v>
                </c:pt>
                <c:pt idx="46">
                  <c:v>0.015870527092254044</c:v>
                </c:pt>
                <c:pt idx="47">
                  <c:v>0.01562688365139752</c:v>
                </c:pt>
                <c:pt idx="48">
                  <c:v>0.015442080128356685</c:v>
                </c:pt>
                <c:pt idx="49">
                  <c:v>0.014485514876487972</c:v>
                </c:pt>
                <c:pt idx="50">
                  <c:v>0.014120425121540308</c:v>
                </c:pt>
                <c:pt idx="51">
                  <c:v>0.013901792582193914</c:v>
                </c:pt>
                <c:pt idx="52">
                  <c:v>0.013615791765328207</c:v>
                </c:pt>
                <c:pt idx="53">
                  <c:v>0.013160393087390277</c:v>
                </c:pt>
                <c:pt idx="54">
                  <c:v>0.01267542626296039</c:v>
                </c:pt>
                <c:pt idx="55">
                  <c:v>0.012581504510047243</c:v>
                </c:pt>
                <c:pt idx="56">
                  <c:v>0.012249432718553726</c:v>
                </c:pt>
                <c:pt idx="57">
                  <c:v>0.01200862162403731</c:v>
                </c:pt>
                <c:pt idx="58">
                  <c:v>0.010729112210360358</c:v>
                </c:pt>
                <c:pt idx="59">
                  <c:v>0.010242239067552117</c:v>
                </c:pt>
                <c:pt idx="60">
                  <c:v>0.009120190386931954</c:v>
                </c:pt>
                <c:pt idx="61">
                  <c:v>0.009041996282580823</c:v>
                </c:pt>
                <c:pt idx="62">
                  <c:v>0.009035816401860602</c:v>
                </c:pt>
                <c:pt idx="63">
                  <c:v>0.008969673433478594</c:v>
                </c:pt>
                <c:pt idx="64">
                  <c:v>0.008737940757314454</c:v>
                </c:pt>
                <c:pt idx="65">
                  <c:v>0.00684858962328344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3 Blade Pro Sensitive 1 Handle + 3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7ECAC4"/>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7ECAC4"/>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7ECAC4"/>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7ECAC4"/>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7ECAC4"/>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006C6D"/>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r>
                      <a:rPr sz="500">
                        <a:solidFill>
                          <a:srgbClr val="006C6D"/>
                        </a:solidFill>
                      </a:rPr>
                      <a:t>Schick Hydro 3 Blade Pro Sensitive 1 Handle + 3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Dollar Shave Club 6 Blades Blade Refills 4 Pack</c:v>
                </c:pt>
                <c:pt idx="11">
                  <c:v>Van Der Hagen Men Double Edge Blade Refills 10 Pack</c:v>
                </c:pt>
                <c:pt idx="12">
                  <c:v>Schick Hydro 3 Blade Ultra Sensitive Refills 5 Pack</c:v>
                </c:pt>
                <c:pt idx="13">
                  <c:v>Gillette Fusion 5 Proglide Blade Refills 8 Pack</c:v>
                </c:pt>
                <c:pt idx="14">
                  <c:v>Harry's 5 Blade 1 Handle + 2 Cartridges</c:v>
                </c:pt>
                <c:pt idx="15">
                  <c:v>Gillette Mach 3 Blade Refills 8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Bic 3 Sensitive Disposable Razors 5 Pack</c:v>
                </c:pt>
                <c:pt idx="28">
                  <c:v>Gillette Mach 3 Sensitive Skin Disposable Razors 3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Gillette Sensor 3 Disposable Razors 12 Pack</c:v>
                </c:pt>
                <c:pt idx="34">
                  <c:v>Dollar Shave Club 6 1 Handle + 2 Blades</c:v>
                </c:pt>
                <c:pt idx="35">
                  <c:v>Equate Speed 3 Disposable Razors 8 Pack</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Gillette Sensor 3 Sensitive Disposable Razors 12 Pack</c:v>
                </c:pt>
                <c:pt idx="43">
                  <c:v>Schick Xtreme 3 Sensitive Disposable Razors 8 Pack</c:v>
                </c:pt>
                <c:pt idx="44">
                  <c:v>Gillette Fusion 5 1 Handle + 3 Cartridges Holiday Pack</c:v>
                </c:pt>
                <c:pt idx="45">
                  <c:v>Bic Flex 4 Sensitive Skin Disposable Razors 3 Pack</c:v>
                </c:pt>
                <c:pt idx="46">
                  <c:v>Gillette Fusion 5 Proglide 1 Handle + 4 Cartridges</c:v>
                </c:pt>
                <c:pt idx="47">
                  <c:v>Schick Hydro 5 Blade Sensitive 1 Handle + 3 Cartridges</c:v>
                </c:pt>
                <c:pt idx="48">
                  <c:v>Schick Hydro 3 Blade Ultra Sensitive 1 Handle + 4 Cartridges</c:v>
                </c:pt>
                <c:pt idx="49">
                  <c:v>Schick Hydro 5 Blade Sensitive Refills 12 Pack</c:v>
                </c:pt>
                <c:pt idx="50">
                  <c:v>Gillette Sensor 3 Disposable Razors 8 Pack</c:v>
                </c:pt>
                <c:pt idx="51">
                  <c:v>Equate Caliber 3 Disposable Razors 3 Pack</c:v>
                </c:pt>
                <c:pt idx="52">
                  <c:v>Equate Easy Fit 5 Blade Refills 12 Pack</c:v>
                </c:pt>
                <c:pt idx="53">
                  <c:v>Bic Men Sensitive Twin Blade Disposable Razors 10 Pack</c:v>
                </c:pt>
                <c:pt idx="54">
                  <c:v>Schick Hydro 3 Blade Pro Sensitive 1 Handle + 3 Cartridges</c:v>
                </c:pt>
                <c:pt idx="55">
                  <c:v>Bic Flex 5 Disposable Razors 4 Pack</c:v>
                </c:pt>
                <c:pt idx="56">
                  <c:v>Bic Comfort 3 Sensitive Skin Disposable Razors 8 Pack</c:v>
                </c:pt>
                <c:pt idx="57">
                  <c:v>Equate Easy Fit 5 blades 1 Handle + 2 Cartridges</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Gillette Mach 3 Sensitive Skin Disposable Razors 6 Pack</c:v>
                </c:pt>
                <c:pt idx="63">
                  <c:v>Bic Flex 5 Disposable Razors 6 Pack Holiday Pack</c:v>
                </c:pt>
                <c:pt idx="64">
                  <c:v>Gillette Sensor 2 Pivot Head Disposable Razors 25 Pack</c:v>
                </c:pt>
                <c:pt idx="65">
                  <c:v>Gillette Mach 3 Blade Refills 15 Pack</c:v>
                </c:pt>
              </c:strCache>
            </c:strRef>
          </c:cat>
          <c:val>
            <c:numRef>
              <c:f>Sheet1!$B$2:$B$67</c:f>
              <c:numCache>
                <c:formatCode>General</c:formatCode>
                <c:ptCount val="66"/>
                <c:pt idx="0">
                  <c:v>0.2018315585196907</c:v>
                </c:pt>
                <c:pt idx="1">
                  <c:v>0.11319862536939496</c:v>
                </c:pt>
                <c:pt idx="2">
                  <c:v>0.1015740327335865</c:v>
                </c:pt>
                <c:pt idx="3">
                  <c:v>0.10075145779164896</c:v>
                </c:pt>
                <c:pt idx="4">
                  <c:v>0.08777400290726586</c:v>
                </c:pt>
                <c:pt idx="5">
                  <c:v>0.06583332440535167</c:v>
                </c:pt>
                <c:pt idx="6">
                  <c:v>0.05502512345592808</c:v>
                </c:pt>
                <c:pt idx="7">
                  <c:v>0.05396515699548103</c:v>
                </c:pt>
                <c:pt idx="8">
                  <c:v>0.05386591548725205</c:v>
                </c:pt>
                <c:pt idx="9">
                  <c:v>0.04790264792896492</c:v>
                </c:pt>
                <c:pt idx="10">
                  <c:v>0.043525053229958706</c:v>
                </c:pt>
                <c:pt idx="11">
                  <c:v>0.043306349584925394</c:v>
                </c:pt>
                <c:pt idx="12">
                  <c:v>0.04145533379654194</c:v>
                </c:pt>
                <c:pt idx="13">
                  <c:v>0.038978844379087156</c:v>
                </c:pt>
                <c:pt idx="14">
                  <c:v>0.037756097348993975</c:v>
                </c:pt>
                <c:pt idx="15">
                  <c:v>0.03504325728336122</c:v>
                </c:pt>
                <c:pt idx="16">
                  <c:v>0.034700321309575434</c:v>
                </c:pt>
                <c:pt idx="17">
                  <c:v>0.02865700122142916</c:v>
                </c:pt>
                <c:pt idx="18">
                  <c:v>0.027859107470015926</c:v>
                </c:pt>
                <c:pt idx="19">
                  <c:v>0.026660773448212154</c:v>
                </c:pt>
                <c:pt idx="20">
                  <c:v>0.02586618321078173</c:v>
                </c:pt>
                <c:pt idx="21">
                  <c:v>0.02528005119913165</c:v>
                </c:pt>
                <c:pt idx="22">
                  <c:v>0.0251276630000425</c:v>
                </c:pt>
                <c:pt idx="23">
                  <c:v>0.024465941486291685</c:v>
                </c:pt>
                <c:pt idx="24">
                  <c:v>0.022812287003150994</c:v>
                </c:pt>
                <c:pt idx="25">
                  <c:v>0.021812361056716717</c:v>
                </c:pt>
                <c:pt idx="26">
                  <c:v>0.02160211816008317</c:v>
                </c:pt>
                <c:pt idx="27">
                  <c:v>0.021178107217255722</c:v>
                </c:pt>
                <c:pt idx="28">
                  <c:v>0.021160459760752405</c:v>
                </c:pt>
                <c:pt idx="29">
                  <c:v>0.020977199313392047</c:v>
                </c:pt>
                <c:pt idx="30">
                  <c:v>0.020459775123420676</c:v>
                </c:pt>
                <c:pt idx="31">
                  <c:v>0.020355842928399356</c:v>
                </c:pt>
                <c:pt idx="32">
                  <c:v>0.01991222012386806</c:v>
                </c:pt>
                <c:pt idx="33">
                  <c:v>0.019000952642414866</c:v>
                </c:pt>
                <c:pt idx="34">
                  <c:v>0.018874931745867067</c:v>
                </c:pt>
                <c:pt idx="35">
                  <c:v>0.018853519653611903</c:v>
                </c:pt>
                <c:pt idx="36">
                  <c:v>0.01865667257278509</c:v>
                </c:pt>
                <c:pt idx="37">
                  <c:v>0.018301026977655423</c:v>
                </c:pt>
                <c:pt idx="38">
                  <c:v>0.018242647314091413</c:v>
                </c:pt>
                <c:pt idx="39">
                  <c:v>0.018076746714806708</c:v>
                </c:pt>
                <c:pt idx="40">
                  <c:v>0.01726354100643307</c:v>
                </c:pt>
                <c:pt idx="41">
                  <c:v>0.01660864311039505</c:v>
                </c:pt>
                <c:pt idx="42">
                  <c:v>0.016141822505732054</c:v>
                </c:pt>
                <c:pt idx="43">
                  <c:v>0.015808988185095907</c:v>
                </c:pt>
                <c:pt idx="44">
                  <c:v>0.015775307106390146</c:v>
                </c:pt>
                <c:pt idx="45">
                  <c:v>0.015758487518498728</c:v>
                </c:pt>
                <c:pt idx="46">
                  <c:v>0.015424814924308552</c:v>
                </c:pt>
                <c:pt idx="47">
                  <c:v>0.015218873254675422</c:v>
                </c:pt>
                <c:pt idx="48">
                  <c:v>0.01457587308590068</c:v>
                </c:pt>
                <c:pt idx="49">
                  <c:v>0.014451286859819744</c:v>
                </c:pt>
                <c:pt idx="50">
                  <c:v>0.014068289871452817</c:v>
                </c:pt>
                <c:pt idx="51">
                  <c:v>0.013841082947440882</c:v>
                </c:pt>
                <c:pt idx="52">
                  <c:v>0.013367119333423626</c:v>
                </c:pt>
                <c:pt idx="53">
                  <c:v>0.013172182311683666</c:v>
                </c:pt>
                <c:pt idx="54">
                  <c:v>0.012852378581641436</c:v>
                </c:pt>
                <c:pt idx="55">
                  <c:v>0.012588946326484562</c:v>
                </c:pt>
                <c:pt idx="56">
                  <c:v>0.012554942525852372</c:v>
                </c:pt>
                <c:pt idx="57">
                  <c:v>0.012530442515387387</c:v>
                </c:pt>
                <c:pt idx="58">
                  <c:v>0.011940121140882764</c:v>
                </c:pt>
                <c:pt idx="59">
                  <c:v>0.010675748261708029</c:v>
                </c:pt>
                <c:pt idx="60">
                  <c:v>0.010084801825890615</c:v>
                </c:pt>
                <c:pt idx="61">
                  <c:v>0.009145264457367443</c:v>
                </c:pt>
                <c:pt idx="62">
                  <c:v>0.008976221131050822</c:v>
                </c:pt>
                <c:pt idx="63">
                  <c:v>0.00896962402165658</c:v>
                </c:pt>
                <c:pt idx="64">
                  <c:v>0.008919293652355352</c:v>
                </c:pt>
                <c:pt idx="65">
                  <c:v>0.008605211667287062</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3 Blade Ingrown Defense 1 Handle + 3 Cartridges</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7ECAC4"/>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7ECAC4"/>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spPr>
              <a:solidFill>
                <a:srgbClr val="7ECAC4"/>
              </a:solidFill>
            </c:spPr>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006C6D"/>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r>
                      <a:rPr sz="500">
                        <a:solidFill>
                          <a:srgbClr val="006C6D"/>
                        </a:solidFill>
                      </a:rPr>
                      <a:t>Schick Hydro 3 Blade Ingrown Defense 1 Handle + 3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Van Der Hagen Men Double Edge Blade Refills 10 Pack</c:v>
                </c:pt>
                <c:pt idx="11">
                  <c:v>Dollar Shave Club 6 Blades Blade Refills 4 Pack</c:v>
                </c:pt>
                <c:pt idx="12">
                  <c:v>Schick Hydro 3 Blade Ultra Sensitive Refills 5 Pack</c:v>
                </c:pt>
                <c:pt idx="13">
                  <c:v>Gillette Fusion 5 Proglide Blade Refills 8 Pack</c:v>
                </c:pt>
                <c:pt idx="14">
                  <c:v>Harry's 5 Blade 1 Handle + 2 Cartridges</c:v>
                </c:pt>
                <c:pt idx="15">
                  <c:v>Schick Hydro 5 Blade Sensitive Refills 6 Pack</c:v>
                </c:pt>
                <c:pt idx="16">
                  <c:v>Gillette Mach 3 Blade Refills 8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Gillette Sensor 3 Disposable Razors 12 Pack</c:v>
                </c:pt>
                <c:pt idx="34">
                  <c:v>Equate Speed 3 Disposable Razors 8 Pack</c:v>
                </c:pt>
                <c:pt idx="35">
                  <c:v>Bic Comfort 3 Sensitive Skin Disposable Razors 4 Pack</c:v>
                </c:pt>
                <c:pt idx="36">
                  <c:v>Dollar Shave Club 6 1 Handle + 2 Blades</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Gillette Sensor 3 Sensitive Disposable Razors 12 Pack</c:v>
                </c:pt>
                <c:pt idx="43">
                  <c:v>Schick Xtreme 3 Sensitive Disposable Razors 8 Pack</c:v>
                </c:pt>
                <c:pt idx="44">
                  <c:v>Bic Flex 4 Sensitive Skin Disposable Razors 3 Pack</c:v>
                </c:pt>
                <c:pt idx="45">
                  <c:v>Gillette Fusion 5 1 Handle + 3 Cartridges Holiday Pack</c:v>
                </c:pt>
                <c:pt idx="46">
                  <c:v>Gillette Fusion 5 Proglide 1 Handle + 4 Cartridges</c:v>
                </c:pt>
                <c:pt idx="47">
                  <c:v>Schick Hydro 5 Blade Sensitive 1 Handle + 3 Cartridges</c:v>
                </c:pt>
                <c:pt idx="48">
                  <c:v>Schick Hydro 5 Blade Sensitive Refills 12 Pack</c:v>
                </c:pt>
                <c:pt idx="49">
                  <c:v>Schick Hydro 3 Blade Ultra Sensitive 1 Handle + 4 Cartridges</c:v>
                </c:pt>
                <c:pt idx="50">
                  <c:v>Gillette Sensor 3 Disposable Razors 8 Pack</c:v>
                </c:pt>
                <c:pt idx="51">
                  <c:v>Equate Caliber 3 Disposable Razors 3 Pack</c:v>
                </c:pt>
                <c:pt idx="52">
                  <c:v>Schick Hydro 3 Blade Ingrown Defense 1 Handle + 3 Cartridges</c:v>
                </c:pt>
                <c:pt idx="53">
                  <c:v>Equate Easy Fit 5 Blade Refills 12 Pack</c:v>
                </c:pt>
                <c:pt idx="54">
                  <c:v>Bic Men Sensitive Twin Blade Disposable Razors 10 Pack</c:v>
                </c:pt>
                <c:pt idx="55">
                  <c:v>Bic Flex 5 Disposable Razors 4 Pack</c:v>
                </c:pt>
                <c:pt idx="56">
                  <c:v>Bic Comfort 3 Sensitive Skin Disposable Razors 8 Pack</c:v>
                </c:pt>
                <c:pt idx="57">
                  <c:v>Equate Easy Fit 5 blades 1 Handle + 2 Cartridges</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Gillette Mach 3 Sensitive Skin Disposable Razors 6 Pack</c:v>
                </c:pt>
                <c:pt idx="63">
                  <c:v>Bic Flex 5 Disposable Razors 6 Pack Holiday Pack</c:v>
                </c:pt>
                <c:pt idx="64">
                  <c:v>Gillette Sensor 2 Pivot Head Disposable Razors 25 Pack</c:v>
                </c:pt>
                <c:pt idx="65">
                  <c:v>Gillette Mach 3 Blade Refills 15 Pack</c:v>
                </c:pt>
              </c:strCache>
            </c:strRef>
          </c:cat>
          <c:val>
            <c:numRef>
              <c:f>Sheet1!$B$2:$B$67</c:f>
              <c:numCache>
                <c:formatCode>General</c:formatCode>
                <c:ptCount val="66"/>
                <c:pt idx="0">
                  <c:v>0.20155405817678557</c:v>
                </c:pt>
                <c:pt idx="1">
                  <c:v>0.11286985109841978</c:v>
                </c:pt>
                <c:pt idx="2">
                  <c:v>0.10151662372559052</c:v>
                </c:pt>
                <c:pt idx="3">
                  <c:v>0.1002367396907228</c:v>
                </c:pt>
                <c:pt idx="4">
                  <c:v>0.08774052750448948</c:v>
                </c:pt>
                <c:pt idx="5">
                  <c:v>0.06569518506242002</c:v>
                </c:pt>
                <c:pt idx="6">
                  <c:v>0.05498457865577263</c:v>
                </c:pt>
                <c:pt idx="7">
                  <c:v>0.053898756180330736</c:v>
                </c:pt>
                <c:pt idx="8">
                  <c:v>0.053811641743891934</c:v>
                </c:pt>
                <c:pt idx="9">
                  <c:v>0.0478932482420172</c:v>
                </c:pt>
                <c:pt idx="10">
                  <c:v>0.04323934165421312</c:v>
                </c:pt>
                <c:pt idx="11">
                  <c:v>0.043009812716500596</c:v>
                </c:pt>
                <c:pt idx="12">
                  <c:v>0.04255992469017502</c:v>
                </c:pt>
                <c:pt idx="13">
                  <c:v>0.03893741108013777</c:v>
                </c:pt>
                <c:pt idx="14">
                  <c:v>0.03758689827700644</c:v>
                </c:pt>
                <c:pt idx="15">
                  <c:v>0.03558807286854754</c:v>
                </c:pt>
                <c:pt idx="16">
                  <c:v>0.03481848532135362</c:v>
                </c:pt>
                <c:pt idx="17">
                  <c:v>0.028607327225273607</c:v>
                </c:pt>
                <c:pt idx="18">
                  <c:v>0.02785258495768434</c:v>
                </c:pt>
                <c:pt idx="19">
                  <c:v>0.026646471747318136</c:v>
                </c:pt>
                <c:pt idx="20">
                  <c:v>0.02583421440514061</c:v>
                </c:pt>
                <c:pt idx="21">
                  <c:v>0.025455812756843933</c:v>
                </c:pt>
                <c:pt idx="22">
                  <c:v>0.025160551288886786</c:v>
                </c:pt>
                <c:pt idx="23">
                  <c:v>0.024248343574193174</c:v>
                </c:pt>
                <c:pt idx="24">
                  <c:v>0.022728515374013988</c:v>
                </c:pt>
                <c:pt idx="25">
                  <c:v>0.02179633562752007</c:v>
                </c:pt>
                <c:pt idx="26">
                  <c:v>0.021640141443919323</c:v>
                </c:pt>
                <c:pt idx="27">
                  <c:v>0.02122008772621113</c:v>
                </c:pt>
                <c:pt idx="28">
                  <c:v>0.02113512912244992</c:v>
                </c:pt>
                <c:pt idx="29">
                  <c:v>0.02094629080308909</c:v>
                </c:pt>
                <c:pt idx="30">
                  <c:v>0.020452827771970727</c:v>
                </c:pt>
                <c:pt idx="31">
                  <c:v>0.020379354686715062</c:v>
                </c:pt>
                <c:pt idx="32">
                  <c:v>0.019879765691137294</c:v>
                </c:pt>
                <c:pt idx="33">
                  <c:v>0.019008938606510664</c:v>
                </c:pt>
                <c:pt idx="34">
                  <c:v>0.018872998751465708</c:v>
                </c:pt>
                <c:pt idx="35">
                  <c:v>0.018680689864854633</c:v>
                </c:pt>
                <c:pt idx="36">
                  <c:v>0.018534582019209943</c:v>
                </c:pt>
                <c:pt idx="37">
                  <c:v>0.018298206257506253</c:v>
                </c:pt>
                <c:pt idx="38">
                  <c:v>0.01823300257679546</c:v>
                </c:pt>
                <c:pt idx="39">
                  <c:v>0.018063237550281247</c:v>
                </c:pt>
                <c:pt idx="40">
                  <c:v>0.01701723263690237</c:v>
                </c:pt>
                <c:pt idx="41">
                  <c:v>0.01655589554216962</c:v>
                </c:pt>
                <c:pt idx="42">
                  <c:v>0.01613683957662789</c:v>
                </c:pt>
                <c:pt idx="43">
                  <c:v>0.016045842692452496</c:v>
                </c:pt>
                <c:pt idx="44">
                  <c:v>0.015777848061904538</c:v>
                </c:pt>
                <c:pt idx="45">
                  <c:v>0.015750007429847526</c:v>
                </c:pt>
                <c:pt idx="46">
                  <c:v>0.01540917699160767</c:v>
                </c:pt>
                <c:pt idx="47">
                  <c:v>0.015407367446763512</c:v>
                </c:pt>
                <c:pt idx="48">
                  <c:v>0.014750675484575846</c:v>
                </c:pt>
                <c:pt idx="49">
                  <c:v>0.014739724370154207</c:v>
                </c:pt>
                <c:pt idx="50">
                  <c:v>0.014058892592043893</c:v>
                </c:pt>
                <c:pt idx="51">
                  <c:v>0.01385877945841841</c:v>
                </c:pt>
                <c:pt idx="52">
                  <c:v>0.013390327194057753</c:v>
                </c:pt>
                <c:pt idx="53">
                  <c:v>0.013358120510281839</c:v>
                </c:pt>
                <c:pt idx="54">
                  <c:v>0.013172387690422421</c:v>
                </c:pt>
                <c:pt idx="55">
                  <c:v>0.012617826417213976</c:v>
                </c:pt>
                <c:pt idx="56">
                  <c:v>0.01255518346293756</c:v>
                </c:pt>
                <c:pt idx="57">
                  <c:v>0.012554200827145909</c:v>
                </c:pt>
                <c:pt idx="58">
                  <c:v>0.0119265772577364</c:v>
                </c:pt>
                <c:pt idx="59">
                  <c:v>0.010680559248921247</c:v>
                </c:pt>
                <c:pt idx="60">
                  <c:v>0.010122449567899365</c:v>
                </c:pt>
                <c:pt idx="61">
                  <c:v>0.00909194241534002</c:v>
                </c:pt>
                <c:pt idx="62">
                  <c:v>0.00898442093958545</c:v>
                </c:pt>
                <c:pt idx="63">
                  <c:v>0.008968080850466685</c:v>
                </c:pt>
                <c:pt idx="64">
                  <c:v>0.0089277458841178</c:v>
                </c:pt>
                <c:pt idx="65">
                  <c:v>0.008525328933039915</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Advanced Hydration 1 Handle + 3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7ECAC4"/>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7ECAC4"/>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7ECAC4"/>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7ECAC4"/>
              </a:solidFill>
            </c:spPr>
            <c:extLst>
              <c:ext xmlns:c16="http://schemas.microsoft.com/office/drawing/2014/chart" uri="{C3380CC4-5D6E-409C-BE32-E72D297353CC}">
                <c16:uniqueId val="{0000003D-902D-4251-AC41-C6D4CBCA5CD6}"/>
              </c:ext>
            </c:extLst>
          </c:dPt>
          <c:dPt>
            <c:idx val="31"/>
            <c:invertIfNegative val="1"/>
            <c:bubble3D val="0"/>
            <c:spPr>
              <a:solidFill>
                <a:srgbClr val="7ECAC4"/>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7ECAC4"/>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7ECAC4"/>
              </a:solidFill>
            </c:spPr>
            <c:extLst>
              <c:ext xmlns:c16="http://schemas.microsoft.com/office/drawing/2014/chart" uri="{C3380CC4-5D6E-409C-BE32-E72D297353CC}">
                <c16:uniqueId val="{0000005F-902D-4251-AC41-C6D4CBCA5CD6}"/>
              </c:ext>
            </c:extLst>
          </c:dPt>
          <c:dPt>
            <c:idx val="48"/>
            <c:invertIfNegative val="1"/>
            <c:bubble3D val="0"/>
            <c:spPr>
              <a:solidFill>
                <a:srgbClr val="7ECAC4"/>
              </a:solidFill>
            </c:spPr>
            <c:extLst>
              <c:ext xmlns:c16="http://schemas.microsoft.com/office/drawing/2014/chart" uri="{C3380CC4-5D6E-409C-BE32-E72D297353CC}">
                <c16:uniqueId val="{00000061-902D-4251-AC41-C6D4CBCA5CD6}"/>
              </c:ext>
            </c:extLst>
          </c:dPt>
          <c:dPt>
            <c:idx val="49"/>
            <c:invertIfNegative val="0"/>
            <c:bubble3D val="0"/>
            <c:spPr>
              <a:solidFill>
                <a:srgbClr val="006C6D"/>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r>
                      <a:rPr sz="500">
                        <a:solidFill>
                          <a:srgbClr val="006C6D"/>
                        </a:solidFill>
                      </a:rPr>
                      <a:t>Schick Hydro 5 Blade Advanced Hydration 1 Handle + 3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Dollar Shave Club 6 Blades Blade Refills 4 Pack</c:v>
                </c:pt>
                <c:pt idx="11">
                  <c:v>Van Der Hagen Men Double Edge Blade Refills 10 Pack</c:v>
                </c:pt>
                <c:pt idx="12">
                  <c:v>Schick Hydro 3 Blade Ultra Sensitive Refills 5 Pack</c:v>
                </c:pt>
                <c:pt idx="13">
                  <c:v>Gillette Fusion 5 Proglide Blade Refills 8 Pack</c:v>
                </c:pt>
                <c:pt idx="14">
                  <c:v>Harry's 5 Blade 1 Handle + 2 Cartridges</c:v>
                </c:pt>
                <c:pt idx="15">
                  <c:v>Schick Hydro 5 Blade Sensitive Refills 6 Pack</c:v>
                </c:pt>
                <c:pt idx="16">
                  <c:v>Gillette Mach 3 Blade Refills 8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Gillette Sensor 3 Disposable Razors 12 Pack</c:v>
                </c:pt>
                <c:pt idx="34">
                  <c:v>Equate Speed 3 Disposable Razors 8 Pack</c:v>
                </c:pt>
                <c:pt idx="35">
                  <c:v>Dollar Shave Club 6 1 Handle + 2 Blades</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Gillette Sensor 3 Sensitive Disposable Razors 12 Pack</c:v>
                </c:pt>
                <c:pt idx="43">
                  <c:v>Schick Xtreme 3 Sensitive Disposable Razors 8 Pack</c:v>
                </c:pt>
                <c:pt idx="44">
                  <c:v>Bic Flex 4 Sensitive Skin Disposable Razors 3 Pack</c:v>
                </c:pt>
                <c:pt idx="45">
                  <c:v>Gillette Fusion 5 1 Handle + 3 Cartridges Holiday Pack</c:v>
                </c:pt>
                <c:pt idx="46">
                  <c:v>Gillette Fusion 5 Proglide 1 Handle + 4 Cartridges</c:v>
                </c:pt>
                <c:pt idx="47">
                  <c:v>Schick Hydro 5 Blade Sensitive Refills 12 Pack</c:v>
                </c:pt>
                <c:pt idx="48">
                  <c:v>Schick Hydro 3 Blade Ultra Sensitive 1 Handle + 4 Cartridges</c:v>
                </c:pt>
                <c:pt idx="49">
                  <c:v>Schick Hydro 5 Blade Advanced Hydration 1 Handle + 3 Cartridges</c:v>
                </c:pt>
                <c:pt idx="50">
                  <c:v>Schick Hydro 5 Blade Sensitive 1 Handle + 3 Cartridges</c:v>
                </c:pt>
                <c:pt idx="51">
                  <c:v>Gillette Sensor 3 Disposable Razors 8 Pack</c:v>
                </c:pt>
                <c:pt idx="52">
                  <c:v>Equate Caliber 3 Disposable Razors 3 Pack</c:v>
                </c:pt>
                <c:pt idx="53">
                  <c:v>Equate Easy Fit 5 Blade Refills 12 Pack</c:v>
                </c:pt>
                <c:pt idx="54">
                  <c:v>Bic Men Sensitive Twin Blade Disposable Razors 10 Pack</c:v>
                </c:pt>
                <c:pt idx="55">
                  <c:v>Bic Flex 5 Disposable Razors 4 Pack</c:v>
                </c:pt>
                <c:pt idx="56">
                  <c:v>Bic Comfort 3 Sensitive Skin Disposable Razors 8 Pack</c:v>
                </c:pt>
                <c:pt idx="57">
                  <c:v>Equate Easy Fit 5 blades 1 Handle + 2 Cartridges</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Gillette Mach 3 Sensitive Skin Disposable Razors 6 Pack</c:v>
                </c:pt>
                <c:pt idx="63">
                  <c:v>Bic Flex 5 Disposable Razors 6 Pack Holiday Pack</c:v>
                </c:pt>
                <c:pt idx="64">
                  <c:v>Gillette Sensor 2 Pivot Head Disposable Razors 25 Pack</c:v>
                </c:pt>
                <c:pt idx="65">
                  <c:v>Gillette Mach 3 Blade Refills 15 Pack</c:v>
                </c:pt>
              </c:strCache>
            </c:strRef>
          </c:cat>
          <c:val>
            <c:numRef>
              <c:f>Sheet1!$B$2:$B$67</c:f>
              <c:numCache>
                <c:formatCode>General</c:formatCode>
                <c:ptCount val="66"/>
                <c:pt idx="0">
                  <c:v>0.20114779030184407</c:v>
                </c:pt>
                <c:pt idx="1">
                  <c:v>0.11273182169621697</c:v>
                </c:pt>
                <c:pt idx="2">
                  <c:v>0.10136994084784551</c:v>
                </c:pt>
                <c:pt idx="3">
                  <c:v>0.10074696161814188</c:v>
                </c:pt>
                <c:pt idx="4">
                  <c:v>0.08762246433694118</c:v>
                </c:pt>
                <c:pt idx="5">
                  <c:v>0.06562293452019714</c:v>
                </c:pt>
                <c:pt idx="6">
                  <c:v>0.0550380466451874</c:v>
                </c:pt>
                <c:pt idx="7">
                  <c:v>0.05399676095413658</c:v>
                </c:pt>
                <c:pt idx="8">
                  <c:v>0.05393029146426201</c:v>
                </c:pt>
                <c:pt idx="9">
                  <c:v>0.047697145041174525</c:v>
                </c:pt>
                <c:pt idx="10">
                  <c:v>0.04335587099111426</c:v>
                </c:pt>
                <c:pt idx="11">
                  <c:v>0.043213681649529906</c:v>
                </c:pt>
                <c:pt idx="12">
                  <c:v>0.042270351508847614</c:v>
                </c:pt>
                <c:pt idx="13">
                  <c:v>0.03888777420508652</c:v>
                </c:pt>
                <c:pt idx="14">
                  <c:v>0.03740179585932595</c:v>
                </c:pt>
                <c:pt idx="15">
                  <c:v>0.03580369257278811</c:v>
                </c:pt>
                <c:pt idx="16">
                  <c:v>0.0350584527988868</c:v>
                </c:pt>
                <c:pt idx="17">
                  <c:v>0.02857571828806784</c:v>
                </c:pt>
                <c:pt idx="18">
                  <c:v>0.027801297353227124</c:v>
                </c:pt>
                <c:pt idx="19">
                  <c:v>0.026611410899081842</c:v>
                </c:pt>
                <c:pt idx="20">
                  <c:v>0.025822364456049483</c:v>
                </c:pt>
                <c:pt idx="21">
                  <c:v>0.025388727234724327</c:v>
                </c:pt>
                <c:pt idx="22">
                  <c:v>0.025250774325968166</c:v>
                </c:pt>
                <c:pt idx="23">
                  <c:v>0.024629518145770597</c:v>
                </c:pt>
                <c:pt idx="24">
                  <c:v>0.02272662238571537</c:v>
                </c:pt>
                <c:pt idx="25">
                  <c:v>0.0217528506511813</c:v>
                </c:pt>
                <c:pt idx="26">
                  <c:v>0.021651231750378926</c:v>
                </c:pt>
                <c:pt idx="27">
                  <c:v>0.02126612458017522</c:v>
                </c:pt>
                <c:pt idx="28">
                  <c:v>0.021222171925904837</c:v>
                </c:pt>
                <c:pt idx="29">
                  <c:v>0.02089424373572735</c:v>
                </c:pt>
                <c:pt idx="30">
                  <c:v>0.020408812363516465</c:v>
                </c:pt>
                <c:pt idx="31">
                  <c:v>0.020360426424856002</c:v>
                </c:pt>
                <c:pt idx="32">
                  <c:v>0.019872464817466285</c:v>
                </c:pt>
                <c:pt idx="33">
                  <c:v>0.019012564701167117</c:v>
                </c:pt>
                <c:pt idx="34">
                  <c:v>0.01886923316592193</c:v>
                </c:pt>
                <c:pt idx="35">
                  <c:v>0.018765513162415565</c:v>
                </c:pt>
                <c:pt idx="36">
                  <c:v>0.018714324089827483</c:v>
                </c:pt>
                <c:pt idx="37">
                  <c:v>0.01831209752431173</c:v>
                </c:pt>
                <c:pt idx="38">
                  <c:v>0.01823987521246907</c:v>
                </c:pt>
                <c:pt idx="39">
                  <c:v>0.01807612821292927</c:v>
                </c:pt>
                <c:pt idx="40">
                  <c:v>0.017199575713067978</c:v>
                </c:pt>
                <c:pt idx="41">
                  <c:v>0.01671455794231113</c:v>
                </c:pt>
                <c:pt idx="42">
                  <c:v>0.016152879795153247</c:v>
                </c:pt>
                <c:pt idx="43">
                  <c:v>0.016001172193084452</c:v>
                </c:pt>
                <c:pt idx="44">
                  <c:v>0.015763370674614707</c:v>
                </c:pt>
                <c:pt idx="45">
                  <c:v>0.015731859890654242</c:v>
                </c:pt>
                <c:pt idx="46">
                  <c:v>0.015469341422737001</c:v>
                </c:pt>
                <c:pt idx="47">
                  <c:v>0.014645549730293276</c:v>
                </c:pt>
                <c:pt idx="48">
                  <c:v>0.014426330293264851</c:v>
                </c:pt>
                <c:pt idx="49">
                  <c:v>0.014177943422139508</c:v>
                </c:pt>
                <c:pt idx="50">
                  <c:v>0.014153685360480237</c:v>
                </c:pt>
                <c:pt idx="51">
                  <c:v>0.014064309879698278</c:v>
                </c:pt>
                <c:pt idx="52">
                  <c:v>0.013865972752690872</c:v>
                </c:pt>
                <c:pt idx="53">
                  <c:v>0.013344488454352994</c:v>
                </c:pt>
                <c:pt idx="54">
                  <c:v>0.013190652278256514</c:v>
                </c:pt>
                <c:pt idx="55">
                  <c:v>0.012575161646610518</c:v>
                </c:pt>
                <c:pt idx="56">
                  <c:v>0.012571686491403214</c:v>
                </c:pt>
                <c:pt idx="57">
                  <c:v>0.012549656889650745</c:v>
                </c:pt>
                <c:pt idx="58">
                  <c:v>0.011906348939660699</c:v>
                </c:pt>
                <c:pt idx="59">
                  <c:v>0.010684750237957452</c:v>
                </c:pt>
                <c:pt idx="60">
                  <c:v>0.01007906007777874</c:v>
                </c:pt>
                <c:pt idx="61">
                  <c:v>0.009121133697410414</c:v>
                </c:pt>
                <c:pt idx="62">
                  <c:v>0.008987532811726305</c:v>
                </c:pt>
                <c:pt idx="63">
                  <c:v>0.008974877483643727</c:v>
                </c:pt>
                <c:pt idx="64">
                  <c:v>0.008911742696984214</c:v>
                </c:pt>
                <c:pt idx="65">
                  <c:v>0.00861608680599487</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Quattro Four Blade 1 Handle + 4 Cartri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AEABAB"/>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7ECAC4"/>
              </a:solidFill>
            </c:spPr>
            <c:extLst>
              <c:ext xmlns:c16="http://schemas.microsoft.com/office/drawing/2014/chart" uri="{C3380CC4-5D6E-409C-BE32-E72D297353CC}">
                <c16:uniqueId val="{0000001F-999B-42C0-A7D9-A2057CE05A51}"/>
              </c:ext>
            </c:extLst>
          </c:dPt>
          <c:dPt>
            <c:idx val="16"/>
            <c:invertIfNegative val="1"/>
            <c:bubble3D val="0"/>
            <c:spPr>
              <a:solidFill>
                <a:srgbClr val="7ECAC4"/>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7ECAC4"/>
              </a:solidFill>
            </c:spPr>
            <c:extLst>
              <c:ext xmlns:c16="http://schemas.microsoft.com/office/drawing/2014/chart" uri="{C3380CC4-5D6E-409C-BE32-E72D297353CC}">
                <c16:uniqueId val="{0000002B-999B-42C0-A7D9-A2057CE05A51}"/>
              </c:ext>
            </c:extLst>
          </c:dPt>
          <c:dPt>
            <c:idx val="22"/>
            <c:invertIfNegative val="1"/>
            <c:bubble3D val="0"/>
            <c:spPr>
              <a:solidFill>
                <a:srgbClr val="7ECAC4"/>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7ECAC4"/>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7ECAC4"/>
              </a:solidFill>
            </c:spPr>
            <c:extLst>
              <c:ext xmlns:c16="http://schemas.microsoft.com/office/drawing/2014/chart" uri="{C3380CC4-5D6E-409C-BE32-E72D297353CC}">
                <c16:uniqueId val="{0000003D-999B-42C0-A7D9-A2057CE05A51}"/>
              </c:ext>
            </c:extLst>
          </c:dPt>
          <c:dPt>
            <c:idx val="31"/>
            <c:invertIfNegative val="1"/>
            <c:bubble3D val="0"/>
            <c:spPr>
              <a:solidFill>
                <a:srgbClr val="7ECAC4"/>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7ECAC4"/>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7ECAC4"/>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7ECAC4"/>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7ECAC4"/>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006C6D"/>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7ECAC4"/>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AEABAB"/>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r>
                      <a:rPr sz="500">
                        <a:solidFill>
                          <a:srgbClr val="006C6D"/>
                        </a:solidFill>
                      </a:rPr>
                      <a:t>Schick Quattro Four Blade 1 Handle + 4 Cartri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Van Der Hagen Men Double Edge Blade Refills 10 Pack</c:v>
                </c:pt>
                <c:pt idx="11">
                  <c:v>Dollar Shave Club 6 Blades Blade Refills 4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Gillette Sensor 3 Disposable Razors 12 Pack</c:v>
                </c:pt>
                <c:pt idx="34">
                  <c:v>Equate Speed 3 Disposable Razors 8 Pack</c:v>
                </c:pt>
                <c:pt idx="35">
                  <c:v>Bic Comfort 3 Sensitive Skin Disposable Razors 4 Pack</c:v>
                </c:pt>
                <c:pt idx="36">
                  <c:v>Dollar Shave Club 6 1 Handle + 2 Blades</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Schick Xtreme 3 Sensitive Disposable Razors 8 Pack</c:v>
                </c:pt>
                <c:pt idx="43">
                  <c:v>Gillette Sensor 3 Sensitive Disposable Razors 12 Pack</c:v>
                </c:pt>
                <c:pt idx="44">
                  <c:v>Bic Flex 4 Sensitive Skin Disposable Razors 3 Pack</c:v>
                </c:pt>
                <c:pt idx="45">
                  <c:v>Gillette Fusion 5 1 Handle + 3 Cartridges Holiday Pack</c:v>
                </c:pt>
                <c:pt idx="46">
                  <c:v>Schick Hydro 5 Blade Sensitive 1 Handle + 3 Cartridges</c:v>
                </c:pt>
                <c:pt idx="47">
                  <c:v>Gillette Fusion 5 Proglide 1 Handle + 4 Cartridges</c:v>
                </c:pt>
                <c:pt idx="48">
                  <c:v>Schick Hydro 3 Blade Ultra Sensitive 1 Handle + 4 Cartridges</c:v>
                </c:pt>
                <c:pt idx="49">
                  <c:v>Gillette Sensor 3 Disposable Razors 8 Pack</c:v>
                </c:pt>
                <c:pt idx="50">
                  <c:v>Equate Caliber 3 Disposable Razors 3 Pack</c:v>
                </c:pt>
                <c:pt idx="51">
                  <c:v>Equate Easy Fit 5 Blade Refills 12 Pack</c:v>
                </c:pt>
                <c:pt idx="52">
                  <c:v>Schick Hydro 5 Blade Sensitive Refills 12 Pack</c:v>
                </c:pt>
                <c:pt idx="53">
                  <c:v>Bic Men Sensitive Twin Blade Disposable Razors 10 Pack</c:v>
                </c:pt>
                <c:pt idx="54">
                  <c:v>Bic Flex 5 Disposable Razors 4 Pack</c:v>
                </c:pt>
                <c:pt idx="55">
                  <c:v>Bic Comfort 3 Sensitive Skin Disposable Razors 8 Pack</c:v>
                </c:pt>
                <c:pt idx="56">
                  <c:v>Equate Easy Fit 5 blades 1 Handle + 2 Cartridges</c:v>
                </c:pt>
                <c:pt idx="57">
                  <c:v>Bic Flex 5 Disposable Razors 2 Pack</c:v>
                </c:pt>
                <c:pt idx="58">
                  <c:v>Schick Quattro Four Blade 1 Handle + 4 Cartriges</c:v>
                </c:pt>
                <c:pt idx="59">
                  <c:v>Gillette Sensor 2 Plus Pivot Head Disposable Razors 21 Pack</c:v>
                </c:pt>
                <c:pt idx="60">
                  <c:v>Schick Xtreme 3 Sensitive Disposable Razors 12 Pack</c:v>
                </c:pt>
                <c:pt idx="61">
                  <c:v>Van Der Hagen Men Double Edge Blade 1 Handle + 5 Cartridges</c:v>
                </c:pt>
                <c:pt idx="62">
                  <c:v>Gillette Mach 3 Sensitive Skin Disposable Razors 6 Pack</c:v>
                </c:pt>
                <c:pt idx="63">
                  <c:v>Bic Flex 5 Disposable Razors 6 Pack Holiday Pack</c:v>
                </c:pt>
                <c:pt idx="64">
                  <c:v>Gillette Sensor 2 Pivot Head Disposable Razors 25 Pack</c:v>
                </c:pt>
                <c:pt idx="65">
                  <c:v>Gillette Mach 3 Blade Refills 15 Pack</c:v>
                </c:pt>
              </c:strCache>
            </c:strRef>
          </c:cat>
          <c:val>
            <c:numRef>
              <c:f>Sheet1!$B$2:$B$67</c:f>
              <c:numCache>
                <c:formatCode>General</c:formatCode>
                <c:ptCount val="66"/>
                <c:pt idx="0">
                  <c:v>0.20449819958503906</c:v>
                </c:pt>
                <c:pt idx="1">
                  <c:v>0.11217697761766136</c:v>
                </c:pt>
                <c:pt idx="2">
                  <c:v>0.10327819267628233</c:v>
                </c:pt>
                <c:pt idx="3">
                  <c:v>0.1029519591412211</c:v>
                </c:pt>
                <c:pt idx="4">
                  <c:v>0.08915899472897183</c:v>
                </c:pt>
                <c:pt idx="5">
                  <c:v>0.06687584714269953</c:v>
                </c:pt>
                <c:pt idx="6">
                  <c:v>0.054899011701041694</c:v>
                </c:pt>
                <c:pt idx="7">
                  <c:v>0.05393234709311445</c:v>
                </c:pt>
                <c:pt idx="8">
                  <c:v>0.05373445411611887</c:v>
                </c:pt>
                <c:pt idx="9">
                  <c:v>0.048603501807548785</c:v>
                </c:pt>
                <c:pt idx="10">
                  <c:v>0.04393706724266003</c:v>
                </c:pt>
                <c:pt idx="11">
                  <c:v>0.04361777166375892</c:v>
                </c:pt>
                <c:pt idx="12">
                  <c:v>0.03958680505033249</c:v>
                </c:pt>
                <c:pt idx="13">
                  <c:v>0.03752358051592601</c:v>
                </c:pt>
                <c:pt idx="14">
                  <c:v>0.03578126178438755</c:v>
                </c:pt>
                <c:pt idx="15">
                  <c:v>0.03358125183154714</c:v>
                </c:pt>
                <c:pt idx="16">
                  <c:v>0.0295542764128068</c:v>
                </c:pt>
                <c:pt idx="17">
                  <c:v>0.02913284381039619</c:v>
                </c:pt>
                <c:pt idx="18">
                  <c:v>0.028335494598708946</c:v>
                </c:pt>
                <c:pt idx="19">
                  <c:v>0.027103154521939496</c:v>
                </c:pt>
                <c:pt idx="20">
                  <c:v>0.02582996991004653</c:v>
                </c:pt>
                <c:pt idx="21">
                  <c:v>0.025782278788439562</c:v>
                </c:pt>
                <c:pt idx="22">
                  <c:v>0.025430765241464735</c:v>
                </c:pt>
                <c:pt idx="23">
                  <c:v>0.024783943178828406</c:v>
                </c:pt>
                <c:pt idx="24">
                  <c:v>0.022770728846410813</c:v>
                </c:pt>
                <c:pt idx="25">
                  <c:v>0.021874961524830875</c:v>
                </c:pt>
                <c:pt idx="26">
                  <c:v>0.021660099036986798</c:v>
                </c:pt>
                <c:pt idx="27">
                  <c:v>0.021335019215084575</c:v>
                </c:pt>
                <c:pt idx="28">
                  <c:v>0.021151199701917135</c:v>
                </c:pt>
                <c:pt idx="29">
                  <c:v>0.020955032131978295</c:v>
                </c:pt>
                <c:pt idx="30">
                  <c:v>0.020782956490848013</c:v>
                </c:pt>
                <c:pt idx="31">
                  <c:v>0.020342961876169217</c:v>
                </c:pt>
                <c:pt idx="32">
                  <c:v>0.019905758466507887</c:v>
                </c:pt>
                <c:pt idx="33">
                  <c:v>0.019061324816527603</c:v>
                </c:pt>
                <c:pt idx="34">
                  <c:v>0.018875934414394946</c:v>
                </c:pt>
                <c:pt idx="35">
                  <c:v>0.018711510542761635</c:v>
                </c:pt>
                <c:pt idx="36">
                  <c:v>0.018566540238334695</c:v>
                </c:pt>
                <c:pt idx="37">
                  <c:v>0.018307558826877394</c:v>
                </c:pt>
                <c:pt idx="38">
                  <c:v>0.018287712963779332</c:v>
                </c:pt>
                <c:pt idx="39">
                  <c:v>0.018071844043109936</c:v>
                </c:pt>
                <c:pt idx="40">
                  <c:v>0.017374468057301848</c:v>
                </c:pt>
                <c:pt idx="41">
                  <c:v>0.016740171205439868</c:v>
                </c:pt>
                <c:pt idx="42">
                  <c:v>0.01629121587781183</c:v>
                </c:pt>
                <c:pt idx="43">
                  <c:v>0.016193746718657774</c:v>
                </c:pt>
                <c:pt idx="44">
                  <c:v>0.015835381012970242</c:v>
                </c:pt>
                <c:pt idx="45">
                  <c:v>0.015749094894534774</c:v>
                </c:pt>
                <c:pt idx="46">
                  <c:v>0.015574020536623285</c:v>
                </c:pt>
                <c:pt idx="47">
                  <c:v>0.015467414228043118</c:v>
                </c:pt>
                <c:pt idx="48">
                  <c:v>0.014989676971937094</c:v>
                </c:pt>
                <c:pt idx="49">
                  <c:v>0.014092424597317814</c:v>
                </c:pt>
                <c:pt idx="50">
                  <c:v>0.01386170863908368</c:v>
                </c:pt>
                <c:pt idx="51">
                  <c:v>0.01358400851708989</c:v>
                </c:pt>
                <c:pt idx="52">
                  <c:v>0.013450173064459956</c:v>
                </c:pt>
                <c:pt idx="53">
                  <c:v>0.013175421795883003</c:v>
                </c:pt>
                <c:pt idx="54">
                  <c:v>0.012631135625322042</c:v>
                </c:pt>
                <c:pt idx="55">
                  <c:v>0.012564401444754094</c:v>
                </c:pt>
                <c:pt idx="56">
                  <c:v>0.012424002254841882</c:v>
                </c:pt>
                <c:pt idx="57">
                  <c:v>0.011935511326917704</c:v>
                </c:pt>
                <c:pt idx="58">
                  <c:v>0.011521835203096995</c:v>
                </c:pt>
                <c:pt idx="59">
                  <c:v>0.010720822415475329</c:v>
                </c:pt>
                <c:pt idx="60">
                  <c:v>0.010220722564688338</c:v>
                </c:pt>
                <c:pt idx="61">
                  <c:v>0.009076565196618959</c:v>
                </c:pt>
                <c:pt idx="62">
                  <c:v>0.009034234529192367</c:v>
                </c:pt>
                <c:pt idx="63">
                  <c:v>0.008969850811405116</c:v>
                </c:pt>
                <c:pt idx="64">
                  <c:v>0.008959127341071866</c:v>
                </c:pt>
                <c:pt idx="65">
                  <c:v>0.008811771872000211</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Sensitive 1 Handle + 5 Cartridges</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AEABAB"/>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7ECAC4"/>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7ECAC4"/>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7ECAC4"/>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7ECAC4"/>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006C6D"/>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7ECAC4"/>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r>
                      <a:rPr sz="500">
                        <a:solidFill>
                          <a:srgbClr val="006C6D"/>
                        </a:solidFill>
                      </a:rPr>
                      <a:t>Schick Hydro 5 Blade Sensitive 1 Handle + 5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Dollar Shave Club 6 Blades Blade Refills 4 Pack</c:v>
                </c:pt>
                <c:pt idx="11">
                  <c:v>Van Der Hagen Men Double Edge Blade Refills 10 Pack</c:v>
                </c:pt>
                <c:pt idx="12">
                  <c:v>Schick Hydro 3 Blade Ultra Sensitive Refills 5 Pack</c:v>
                </c:pt>
                <c:pt idx="13">
                  <c:v>Gillette Fusion 5 Proglide Blade Refills 8 Pack</c:v>
                </c:pt>
                <c:pt idx="14">
                  <c:v>Harry's 5 Blade 1 Handle + 2 Cartridges</c:v>
                </c:pt>
                <c:pt idx="15">
                  <c:v>Schick Hydro 5 Blade Sensitive Refills 6 Pack</c:v>
                </c:pt>
                <c:pt idx="16">
                  <c:v>Gillette Mach 3 Blade Refills 8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Gillette Sensor 3 Disposable Razors 12 Pack</c:v>
                </c:pt>
                <c:pt idx="34">
                  <c:v>Dollar Shave Club 6 1 Handle + 2 Blades</c:v>
                </c:pt>
                <c:pt idx="35">
                  <c:v>Equate Speed 3 Disposable Razors 8 Pack</c:v>
                </c:pt>
                <c:pt idx="36">
                  <c:v>Bic Comfort 3 Sensitive Skin Disposable Razors 4 Pack</c:v>
                </c:pt>
                <c:pt idx="37">
                  <c:v>Gillette Sensor 3 Sensitive Disposable Razors 8 Pack</c:v>
                </c:pt>
                <c:pt idx="38">
                  <c:v>Gillette Fusion 5 1 Handle + 5 Cartridges</c:v>
                </c:pt>
                <c:pt idx="39">
                  <c:v>Gillette Fusion 5 1 Handle + 7 Cartridges</c:v>
                </c:pt>
                <c:pt idx="40">
                  <c:v>Dollar Shave Club 6 Blades Blade Refills 8 Pack</c:v>
                </c:pt>
                <c:pt idx="41">
                  <c:v>Gillette Mach 3 1 Handle + 6 Cartridges</c:v>
                </c:pt>
                <c:pt idx="42">
                  <c:v>Gillette Sensor 3 Sensitive Disposable Razors 12 Pack</c:v>
                </c:pt>
                <c:pt idx="43">
                  <c:v>Schick Xtreme 3 Sensitive Disposable Razors 8 Pack</c:v>
                </c:pt>
                <c:pt idx="44">
                  <c:v>Bic Flex 4 Sensitive Skin Disposable Razors 3 Pack</c:v>
                </c:pt>
                <c:pt idx="45">
                  <c:v>Gillette Fusion 5 1 Handle + 3 Cartridges Holiday Pack</c:v>
                </c:pt>
                <c:pt idx="46">
                  <c:v>Gillette Fusion 5 Proglide 1 Handle + 4 Cartridges</c:v>
                </c:pt>
                <c:pt idx="47">
                  <c:v>Schick Hydro 5 Blade Sensitive Refills 12 Pack</c:v>
                </c:pt>
                <c:pt idx="48">
                  <c:v>Schick Hydro 5 Blade Sensitive 1 Handle + 5 Cartridges</c:v>
                </c:pt>
                <c:pt idx="49">
                  <c:v>Schick Hydro 3 Blade Ultra Sensitive 1 Handle + 4 Cartridges</c:v>
                </c:pt>
                <c:pt idx="50">
                  <c:v>Gillette Sensor 3 Disposable Razors 8 Pack</c:v>
                </c:pt>
                <c:pt idx="51">
                  <c:v>Schick Hydro 5 Blade Sensitive 1 Handle + 3 Cartridges</c:v>
                </c:pt>
                <c:pt idx="52">
                  <c:v>Equate Caliber 3 Disposable Razors 3 Pack</c:v>
                </c:pt>
                <c:pt idx="53">
                  <c:v>Equate Easy Fit 5 Blade Refills 12 Pack</c:v>
                </c:pt>
                <c:pt idx="54">
                  <c:v>Bic Men Sensitive Twin Blade Disposable Razors 10 Pack</c:v>
                </c:pt>
                <c:pt idx="55">
                  <c:v>Equate Easy Fit 5 blades 1 Handle + 2 Cartridges</c:v>
                </c:pt>
                <c:pt idx="56">
                  <c:v>Bic Comfort 3 Sensitive Skin Disposable Razors 8 Pack</c:v>
                </c:pt>
                <c:pt idx="57">
                  <c:v>Bic Flex 5 Disposable Razors 4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Gillette Mach 3 Sensitive Skin Disposable Razors 6 Pack</c:v>
                </c:pt>
                <c:pt idx="63">
                  <c:v>Bic Flex 5 Disposable Razors 6 Pack Holiday Pack</c:v>
                </c:pt>
                <c:pt idx="64">
                  <c:v>Gillette Sensor 2 Pivot Head Disposable Razors 25 Pack</c:v>
                </c:pt>
                <c:pt idx="65">
                  <c:v>Gillette Mach 3 Blade Refills 15 Pack</c:v>
                </c:pt>
              </c:strCache>
            </c:strRef>
          </c:cat>
          <c:val>
            <c:numRef>
              <c:f>Sheet1!$B$2:$B$67</c:f>
              <c:numCache>
                <c:formatCode>General</c:formatCode>
                <c:ptCount val="66"/>
                <c:pt idx="0">
                  <c:v>0.20225639956030086</c:v>
                </c:pt>
                <c:pt idx="1">
                  <c:v>0.11191168175943883</c:v>
                </c:pt>
                <c:pt idx="2">
                  <c:v>0.1012467805749698</c:v>
                </c:pt>
                <c:pt idx="3">
                  <c:v>0.10082536638675713</c:v>
                </c:pt>
                <c:pt idx="4">
                  <c:v>0.08761236052512159</c:v>
                </c:pt>
                <c:pt idx="5">
                  <c:v>0.06592764440669047</c:v>
                </c:pt>
                <c:pt idx="6">
                  <c:v>0.055132138408475515</c:v>
                </c:pt>
                <c:pt idx="7">
                  <c:v>0.05401823722075195</c:v>
                </c:pt>
                <c:pt idx="8">
                  <c:v>0.05401540386379908</c:v>
                </c:pt>
                <c:pt idx="9">
                  <c:v>0.047879493109994994</c:v>
                </c:pt>
                <c:pt idx="10">
                  <c:v>0.043716247211769144</c:v>
                </c:pt>
                <c:pt idx="11">
                  <c:v>0.043215535784137935</c:v>
                </c:pt>
                <c:pt idx="12">
                  <c:v>0.040045251670577875</c:v>
                </c:pt>
                <c:pt idx="13">
                  <c:v>0.038853318822082844</c:v>
                </c:pt>
                <c:pt idx="14">
                  <c:v>0.037723426716765686</c:v>
                </c:pt>
                <c:pt idx="15">
                  <c:v>0.03555650872512851</c:v>
                </c:pt>
                <c:pt idx="16">
                  <c:v>0.03501913130971859</c:v>
                </c:pt>
                <c:pt idx="17">
                  <c:v>0.02870573772959662</c:v>
                </c:pt>
                <c:pt idx="18">
                  <c:v>0.027799850907146345</c:v>
                </c:pt>
                <c:pt idx="19">
                  <c:v>0.026633849698305796</c:v>
                </c:pt>
                <c:pt idx="20">
                  <c:v>0.025627108812830254</c:v>
                </c:pt>
                <c:pt idx="21">
                  <c:v>0.025576940037926228</c:v>
                </c:pt>
                <c:pt idx="22">
                  <c:v>0.02539723403615269</c:v>
                </c:pt>
                <c:pt idx="23">
                  <c:v>0.02453409862799927</c:v>
                </c:pt>
                <c:pt idx="24">
                  <c:v>0.022753727927390638</c:v>
                </c:pt>
                <c:pt idx="25">
                  <c:v>0.021837419955252277</c:v>
                </c:pt>
                <c:pt idx="26">
                  <c:v>0.02173884727573654</c:v>
                </c:pt>
                <c:pt idx="27">
                  <c:v>0.02128611575127268</c:v>
                </c:pt>
                <c:pt idx="28">
                  <c:v>0.021241036789150305</c:v>
                </c:pt>
                <c:pt idx="29">
                  <c:v>0.020984314660948786</c:v>
                </c:pt>
                <c:pt idx="30">
                  <c:v>0.02043229610630219</c:v>
                </c:pt>
                <c:pt idx="31">
                  <c:v>0.020429643231700927</c:v>
                </c:pt>
                <c:pt idx="32">
                  <c:v>0.01996749888625196</c:v>
                </c:pt>
                <c:pt idx="33">
                  <c:v>0.018992277661839873</c:v>
                </c:pt>
                <c:pt idx="34">
                  <c:v>0.018987442200008624</c:v>
                </c:pt>
                <c:pt idx="35">
                  <c:v>0.01889430050605266</c:v>
                </c:pt>
                <c:pt idx="36">
                  <c:v>0.018736544056029737</c:v>
                </c:pt>
                <c:pt idx="37">
                  <c:v>0.01824533302812875</c:v>
                </c:pt>
                <c:pt idx="38">
                  <c:v>0.018184431578449838</c:v>
                </c:pt>
                <c:pt idx="39">
                  <c:v>0.017943886792568826</c:v>
                </c:pt>
                <c:pt idx="40">
                  <c:v>0.017377463016969755</c:v>
                </c:pt>
                <c:pt idx="41">
                  <c:v>0.016637519984219484</c:v>
                </c:pt>
                <c:pt idx="42">
                  <c:v>0.016152521618430116</c:v>
                </c:pt>
                <c:pt idx="43">
                  <c:v>0.01592836482873014</c:v>
                </c:pt>
                <c:pt idx="44">
                  <c:v>0.01579109648282011</c:v>
                </c:pt>
                <c:pt idx="45">
                  <c:v>0.015591524745429497</c:v>
                </c:pt>
                <c:pt idx="46">
                  <c:v>0.015383972370039621</c:v>
                </c:pt>
                <c:pt idx="47">
                  <c:v>0.014939744874764984</c:v>
                </c:pt>
                <c:pt idx="48">
                  <c:v>0.014551132040224466</c:v>
                </c:pt>
                <c:pt idx="49">
                  <c:v>0.014418229334113228</c:v>
                </c:pt>
                <c:pt idx="50">
                  <c:v>0.014066619926819783</c:v>
                </c:pt>
                <c:pt idx="51">
                  <c:v>0.013990201922772989</c:v>
                </c:pt>
                <c:pt idx="52">
                  <c:v>0.01390796766197449</c:v>
                </c:pt>
                <c:pt idx="53">
                  <c:v>0.013333986898070012</c:v>
                </c:pt>
                <c:pt idx="54">
                  <c:v>0.013188738685462609</c:v>
                </c:pt>
                <c:pt idx="55">
                  <c:v>0.012588252460501922</c:v>
                </c:pt>
                <c:pt idx="56">
                  <c:v>0.012579450454517645</c:v>
                </c:pt>
                <c:pt idx="57">
                  <c:v>0.012515638340447558</c:v>
                </c:pt>
                <c:pt idx="58">
                  <c:v>0.011917468197761275</c:v>
                </c:pt>
                <c:pt idx="59">
                  <c:v>0.010672944954451662</c:v>
                </c:pt>
                <c:pt idx="60">
                  <c:v>0.010068389904122585</c:v>
                </c:pt>
                <c:pt idx="61">
                  <c:v>0.009044081132613352</c:v>
                </c:pt>
                <c:pt idx="62">
                  <c:v>0.008973818725982933</c:v>
                </c:pt>
                <c:pt idx="63">
                  <c:v>0.008955731240336186</c:v>
                </c:pt>
                <c:pt idx="64">
                  <c:v>0.008917245203306414</c:v>
                </c:pt>
                <c:pt idx="65">
                  <c:v>0.008623032681594566</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Sensitive 1 Handle + 8 Cartridges</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7ECAC4"/>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7ECAC4"/>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spPr>
              <a:solidFill>
                <a:srgbClr val="7ECAC4"/>
              </a:solidFill>
            </c:spPr>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006C6D"/>
              </a:solidFill>
            </c:spPr>
            <c:extLst>
              <c:ext xmlns:c16="http://schemas.microsoft.com/office/drawing/2014/chart" uri="{C3380CC4-5D6E-409C-BE32-E72D297353CC}">
                <c16:uniqueId val="{00000036-A0D8-4FF8-BF2D-A6DC7B178F5A}"/>
              </c:ext>
            </c:extLst>
          </c:dPt>
          <c:dPt>
            <c:idx val="51"/>
            <c:invertIfNegative val="1"/>
            <c:bubble3D val="0"/>
            <c:spPr>
              <a:solidFill>
                <a:srgbClr val="AEABAB"/>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7ECAC4"/>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r>
                      <a:rPr sz="500">
                        <a:solidFill>
                          <a:srgbClr val="006C6D"/>
                        </a:solidFill>
                      </a:rPr>
                      <a:t>Schick Hydro 5 Blade Sensitive 1 Handle + 8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Mach 3 Blade Refills 4 Pack</c:v>
                </c:pt>
                <c:pt idx="3">
                  <c:v>Gillette Fusion 5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Dollar Shave Club 6 Blades Blade Refills 4 Pack</c:v>
                </c:pt>
                <c:pt idx="11">
                  <c:v>Van Der Hagen Men Double Edge Blade Refills 10 Pack</c:v>
                </c:pt>
                <c:pt idx="12">
                  <c:v>Schick Hydro 3 Blade Ultra Sensitive Refills 5 Pack</c:v>
                </c:pt>
                <c:pt idx="13">
                  <c:v>Gillette Fusion 5 Proglide Blade Refills 8 Pack</c:v>
                </c:pt>
                <c:pt idx="14">
                  <c:v>Harry's 5 Blade 1 Handle + 2 Cartridges</c:v>
                </c:pt>
                <c:pt idx="15">
                  <c:v>Schick Hydro 5 Blade Sensitive Refills 6 Pack</c:v>
                </c:pt>
                <c:pt idx="16">
                  <c:v>Gillette Mach 3 Blade Refills 8 Pack</c:v>
                </c:pt>
                <c:pt idx="17">
                  <c:v>Harry's Men Five Blade Refills 12 Pack</c:v>
                </c:pt>
                <c:pt idx="18">
                  <c:v>Gillette Fusion 5 Blade Refills 12 Pack</c:v>
                </c:pt>
                <c:pt idx="19">
                  <c:v>Gillette Fusion 5 Proglide Blade Refills 12 Pack</c:v>
                </c:pt>
                <c:pt idx="20">
                  <c:v>Schick Xtreme 3 Sensitive Disposable Razors 4 Pack</c:v>
                </c:pt>
                <c:pt idx="21">
                  <c:v>Gillette Fusion 5 1 Handle + 2 Cartridges</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Caliber 5 Disposable Razors 3 Pack</c:v>
                </c:pt>
                <c:pt idx="31">
                  <c:v>Equate Easy Fit 5 Blade Refills 8 Pack</c:v>
                </c:pt>
                <c:pt idx="32">
                  <c:v>Gillette Sensor 2 Plus Disposable Razors 10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Sensor 3 Sensitive Disposable Razors 8 Pack</c:v>
                </c:pt>
                <c:pt idx="38">
                  <c:v>Gillette Fusion 5 1 Handle + 5 Cartridges</c:v>
                </c:pt>
                <c:pt idx="39">
                  <c:v>Gillette Fusion 5 1 Handle + 7 Cartridges</c:v>
                </c:pt>
                <c:pt idx="40">
                  <c:v>Dollar Shave Club 6 Blades Blade Refills 8 Pack</c:v>
                </c:pt>
                <c:pt idx="41">
                  <c:v>Gillette Mach 3 1 Handle + 6 Cartridges</c:v>
                </c:pt>
                <c:pt idx="42">
                  <c:v>Gillette Sensor 3 Sensitive Disposable Razors 12 Pack</c:v>
                </c:pt>
                <c:pt idx="43">
                  <c:v>Schick Xtreme 3 Sensitive Disposable Razors 8 Pack</c:v>
                </c:pt>
                <c:pt idx="44">
                  <c:v>Bic Flex 4 Sensitive Skin Disposable Razors 3 Pack</c:v>
                </c:pt>
                <c:pt idx="45">
                  <c:v>Gillette Fusion 5 1 Handle + 3 Cartridges Holiday Pack</c:v>
                </c:pt>
                <c:pt idx="46">
                  <c:v>Schick Hydro 5 Blade Sensitive Refills 12 Pack</c:v>
                </c:pt>
                <c:pt idx="47">
                  <c:v>Gillette Fusion 5 Proglide 1 Handle + 4 Cartridges</c:v>
                </c:pt>
                <c:pt idx="48">
                  <c:v>Schick Hydro 3 Blade Ultra Sensitive 1 Handle + 4 Cartridges</c:v>
                </c:pt>
                <c:pt idx="49">
                  <c:v>Schick Hydro 5 Blade Sensitive 1 Handle + 3 Cartridges</c:v>
                </c:pt>
                <c:pt idx="50">
                  <c:v>Schick Hydro 5 Blade Sensitive 1 Handle + 8 Cartridges</c:v>
                </c:pt>
                <c:pt idx="51">
                  <c:v>Gillette Sensor 3 Disposable Razors 8 Pack</c:v>
                </c:pt>
                <c:pt idx="52">
                  <c:v>Equate Caliber 3 Disposable Razors 3 Pack</c:v>
                </c:pt>
                <c:pt idx="53">
                  <c:v>Equate Easy Fit 5 Blade Refills 12 Pack</c:v>
                </c:pt>
                <c:pt idx="54">
                  <c:v>Bic Men Sensitive Twin Blade Disposable Razors 10 Pack</c:v>
                </c:pt>
                <c:pt idx="55">
                  <c:v>Equate Easy Fit 5 blades 1 Handle + 2 Cartridges</c:v>
                </c:pt>
                <c:pt idx="56">
                  <c:v>Bic Comfort 3 Sensitive Skin Disposable Razors 8 Pack</c:v>
                </c:pt>
                <c:pt idx="57">
                  <c:v>Bic Flex 5 Disposable Razors 4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Gillette Mach 3 Sensitive Skin Disposable Razors 6 Pack</c:v>
                </c:pt>
                <c:pt idx="63">
                  <c:v>Bic Flex 5 Disposable Razors 6 Pack Holiday Pack</c:v>
                </c:pt>
                <c:pt idx="64">
                  <c:v>Gillette Sensor 2 Pivot Head Disposable Razors 25 Pack</c:v>
                </c:pt>
                <c:pt idx="65">
                  <c:v>Gillette Mach 3 Blade Refills 15 Pack</c:v>
                </c:pt>
              </c:strCache>
            </c:strRef>
          </c:cat>
          <c:val>
            <c:numRef>
              <c:f>Sheet1!$B$2:$B$67</c:f>
              <c:numCache>
                <c:formatCode>General</c:formatCode>
                <c:ptCount val="66"/>
                <c:pt idx="0">
                  <c:v>0.20221683564218415</c:v>
                </c:pt>
                <c:pt idx="1">
                  <c:v>0.11116449615901035</c:v>
                </c:pt>
                <c:pt idx="2">
                  <c:v>0.10147257576209634</c:v>
                </c:pt>
                <c:pt idx="3">
                  <c:v>0.10128067089084643</c:v>
                </c:pt>
                <c:pt idx="4">
                  <c:v>0.08744475097246554</c:v>
                </c:pt>
                <c:pt idx="5">
                  <c:v>0.06584802256320091</c:v>
                </c:pt>
                <c:pt idx="6">
                  <c:v>0.05511797910642612</c:v>
                </c:pt>
                <c:pt idx="7">
                  <c:v>0.054019602640015624</c:v>
                </c:pt>
                <c:pt idx="8">
                  <c:v>0.05401874999160719</c:v>
                </c:pt>
                <c:pt idx="9">
                  <c:v>0.048011388624492606</c:v>
                </c:pt>
                <c:pt idx="10">
                  <c:v>0.04373599374879962</c:v>
                </c:pt>
                <c:pt idx="11">
                  <c:v>0.04327891947972935</c:v>
                </c:pt>
                <c:pt idx="12">
                  <c:v>0.039950343545955905</c:v>
                </c:pt>
                <c:pt idx="13">
                  <c:v>0.03866711242771544</c:v>
                </c:pt>
                <c:pt idx="14">
                  <c:v>0.03774059161942582</c:v>
                </c:pt>
                <c:pt idx="15">
                  <c:v>0.03516041698752647</c:v>
                </c:pt>
                <c:pt idx="16">
                  <c:v>0.03506393636676295</c:v>
                </c:pt>
                <c:pt idx="17">
                  <c:v>0.028709892022236828</c:v>
                </c:pt>
                <c:pt idx="18">
                  <c:v>0.02761528961146541</c:v>
                </c:pt>
                <c:pt idx="19">
                  <c:v>0.026543018246188828</c:v>
                </c:pt>
                <c:pt idx="20">
                  <c:v>0.025728911617324383</c:v>
                </c:pt>
                <c:pt idx="21">
                  <c:v>0.025686506065320854</c:v>
                </c:pt>
                <c:pt idx="22">
                  <c:v>0.025434791241182506</c:v>
                </c:pt>
                <c:pt idx="23">
                  <c:v>0.02475860684999472</c:v>
                </c:pt>
                <c:pt idx="24">
                  <c:v>0.02275333076596701</c:v>
                </c:pt>
                <c:pt idx="25">
                  <c:v>0.021908762308006955</c:v>
                </c:pt>
                <c:pt idx="26">
                  <c:v>0.021767476739721486</c:v>
                </c:pt>
                <c:pt idx="27">
                  <c:v>0.021348123627781334</c:v>
                </c:pt>
                <c:pt idx="28">
                  <c:v>0.021255741609734532</c:v>
                </c:pt>
                <c:pt idx="29">
                  <c:v>0.0210150844902345</c:v>
                </c:pt>
                <c:pt idx="30">
                  <c:v>0.02044432420218657</c:v>
                </c:pt>
                <c:pt idx="31">
                  <c:v>0.020384289860411055</c:v>
                </c:pt>
                <c:pt idx="32">
                  <c:v>0.020000788258262653</c:v>
                </c:pt>
                <c:pt idx="33">
                  <c:v>0.019033435295130123</c:v>
                </c:pt>
                <c:pt idx="34">
                  <c:v>0.018976585912203442</c:v>
                </c:pt>
                <c:pt idx="35">
                  <c:v>0.0189008896876347</c:v>
                </c:pt>
                <c:pt idx="36">
                  <c:v>0.018749340068724474</c:v>
                </c:pt>
                <c:pt idx="37">
                  <c:v>0.018261252555581507</c:v>
                </c:pt>
                <c:pt idx="38">
                  <c:v>0.01802458046980598</c:v>
                </c:pt>
                <c:pt idx="39">
                  <c:v>0.017731559833664236</c:v>
                </c:pt>
                <c:pt idx="40">
                  <c:v>0.01741167107223303</c:v>
                </c:pt>
                <c:pt idx="41">
                  <c:v>0.016504810157546214</c:v>
                </c:pt>
                <c:pt idx="42">
                  <c:v>0.01613865983439639</c:v>
                </c:pt>
                <c:pt idx="43">
                  <c:v>0.01591454005040651</c:v>
                </c:pt>
                <c:pt idx="44">
                  <c:v>0.015875757038453415</c:v>
                </c:pt>
                <c:pt idx="45">
                  <c:v>0.015566840551292966</c:v>
                </c:pt>
                <c:pt idx="46">
                  <c:v>0.015312368868485953</c:v>
                </c:pt>
                <c:pt idx="47">
                  <c:v>0.015280847277254142</c:v>
                </c:pt>
                <c:pt idx="48">
                  <c:v>0.014853676484756056</c:v>
                </c:pt>
                <c:pt idx="49">
                  <c:v>0.014578631419614647</c:v>
                </c:pt>
                <c:pt idx="50">
                  <c:v>0.014095113731544151</c:v>
                </c:pt>
                <c:pt idx="51">
                  <c:v>0.014070104629636893</c:v>
                </c:pt>
                <c:pt idx="52">
                  <c:v>0.013916747738034368</c:v>
                </c:pt>
                <c:pt idx="53">
                  <c:v>0.013280151556117864</c:v>
                </c:pt>
                <c:pt idx="54">
                  <c:v>0.013192587880210951</c:v>
                </c:pt>
                <c:pt idx="55">
                  <c:v>0.012615672608200785</c:v>
                </c:pt>
                <c:pt idx="56">
                  <c:v>0.012596252106954644</c:v>
                </c:pt>
                <c:pt idx="57">
                  <c:v>0.012526678592800582</c:v>
                </c:pt>
                <c:pt idx="58">
                  <c:v>0.011942594863504805</c:v>
                </c:pt>
                <c:pt idx="59">
                  <c:v>0.010612571918868639</c:v>
                </c:pt>
                <c:pt idx="60">
                  <c:v>0.01002280006864385</c:v>
                </c:pt>
                <c:pt idx="61">
                  <c:v>0.00904110015875994</c:v>
                </c:pt>
                <c:pt idx="62">
                  <c:v>0.009002508072388683</c:v>
                </c:pt>
                <c:pt idx="63">
                  <c:v>0.008964090884743783</c:v>
                </c:pt>
                <c:pt idx="64">
                  <c:v>0.008845902817040563</c:v>
                </c:pt>
                <c:pt idx="65">
                  <c:v>0.008612351751085358</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Chrome 1 Handle + 3 Cartridges + Docking Station/Stand + Travel Cover</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AEABAB"/>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7ECAC4"/>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7ECAC4"/>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7ECAC4"/>
              </a:solidFill>
            </c:spPr>
            <c:extLst>
              <c:ext xmlns:c16="http://schemas.microsoft.com/office/drawing/2014/chart" uri="{C3380CC4-5D6E-409C-BE32-E72D297353CC}">
                <c16:uniqueId val="{0000003D-902D-4251-AC41-C6D4CBCA5CD6}"/>
              </c:ext>
            </c:extLst>
          </c:dPt>
          <c:dPt>
            <c:idx val="31"/>
            <c:invertIfNegative val="1"/>
            <c:bubble3D val="0"/>
            <c:spPr>
              <a:solidFill>
                <a:srgbClr val="7ECAC4"/>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7ECAC4"/>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006C6D"/>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7ECAC4"/>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7ECAC4"/>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AEABAB"/>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7ECAC4"/>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7ECAC4"/>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r>
                      <a:rPr sz="500">
                        <a:solidFill>
                          <a:srgbClr val="006C6D"/>
                        </a:solidFill>
                      </a:rPr>
                      <a:t>Schick Hydro 5 Blade Chrome 1 Handle + 3 Cartridges + Docking Station/Stand + Travel Cove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Mach 3 Blade Refills 4 Pack</c:v>
                </c:pt>
                <c:pt idx="3">
                  <c:v>Gillette Fusion 5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Equate Easy Fit 5 Blade Refills 4 Pack</c:v>
                </c:pt>
                <c:pt idx="10">
                  <c:v>Dollar Shave Club 6 Blades Blade Refills 4 Pack</c:v>
                </c:pt>
                <c:pt idx="11">
                  <c:v>Schick Hydro 3 Blade Ultra Sensitive Refills 5 Pack</c:v>
                </c:pt>
                <c:pt idx="12">
                  <c:v>Van Der Hagen Men Double Edge Blade Refills 10 Pack</c:v>
                </c:pt>
                <c:pt idx="13">
                  <c:v>Gillette Fusion 5 Proglide Blade Refills 8 Pack</c:v>
                </c:pt>
                <c:pt idx="14">
                  <c:v>Schick Hydro 5 Blade Sensitive Refills 6 Pack</c:v>
                </c:pt>
                <c:pt idx="15">
                  <c:v>Harry's 5 Blade 1 Handle + 2 Cartridges</c:v>
                </c:pt>
                <c:pt idx="16">
                  <c:v>Gillette Mach 3 Blade Refills 8 Pack</c:v>
                </c:pt>
                <c:pt idx="17">
                  <c:v>Harry's Men Five Blade Refills 12 Pack</c:v>
                </c:pt>
                <c:pt idx="18">
                  <c:v>Gillette Fusion 5 Blade Refills 12 Pack</c:v>
                </c:pt>
                <c:pt idx="19">
                  <c:v>Gillette Fusion 5 Proglide Blade Refills 12 Pack</c:v>
                </c:pt>
                <c:pt idx="20">
                  <c:v>Schick Xtreme 3 Sensitive Disposable Razors 4 Pack</c:v>
                </c:pt>
                <c:pt idx="21">
                  <c:v>Schick Xtreme 2 Sensitive Disposable Razors 12 Pack</c:v>
                </c:pt>
                <c:pt idx="22">
                  <c:v>Gillette Fusion 5 1 Handle + 2 Cartridges</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Caliber 5 Disposable Razors 3 Pack</c:v>
                </c:pt>
                <c:pt idx="31">
                  <c:v>Equate Easy Fit 5 Blade Refills 8 Pack</c:v>
                </c:pt>
                <c:pt idx="32">
                  <c:v>Gillette Sensor 2 Plus Disposable Razors 10 Pack</c:v>
                </c:pt>
                <c:pt idx="33">
                  <c:v>Dollar Shave Club 6 1 Handle + 2 Blades</c:v>
                </c:pt>
                <c:pt idx="34">
                  <c:v>Equate Speed 3 Disposable Razors 8 Pack</c:v>
                </c:pt>
                <c:pt idx="35">
                  <c:v>Gillette Sensor 3 Disposable Razors 12 Pack</c:v>
                </c:pt>
                <c:pt idx="36">
                  <c:v>Bic Comfort 3 Sensitive Skin Disposable Razors 4 Pack</c:v>
                </c:pt>
                <c:pt idx="37">
                  <c:v>Gillette Sensor 3 Sensitive Disposable Razors 8 Pack</c:v>
                </c:pt>
                <c:pt idx="38">
                  <c:v>Gillette Fusion 5 1 Handle + 5 Cartridges</c:v>
                </c:pt>
                <c:pt idx="39">
                  <c:v>Gillette Fusion 5 1 Handle + 7 Cartridges</c:v>
                </c:pt>
                <c:pt idx="40">
                  <c:v>Schick Hydro 5 Blade Chrome 1 Handle + 3 Cartridges + Docking Station/Stand + Travel Cover</c:v>
                </c:pt>
                <c:pt idx="41">
                  <c:v>Dollar Shave Club 6 Blades Blade Refills 8 Pack</c:v>
                </c:pt>
                <c:pt idx="42">
                  <c:v>Schick Hydro 5 Blade Sensitive Refills 12 Pack</c:v>
                </c:pt>
                <c:pt idx="43">
                  <c:v>Gillette Mach 3 1 Handle + 6 Cartridges</c:v>
                </c:pt>
                <c:pt idx="44">
                  <c:v>Gillette Sensor 3 Sensitive Disposable Razors 12 Pack</c:v>
                </c:pt>
                <c:pt idx="45">
                  <c:v>Schick Xtreme 3 Sensitive Disposable Razors 8 Pack</c:v>
                </c:pt>
                <c:pt idx="46">
                  <c:v>Bic Flex 4 Sensitive Skin Disposable Razors 3 Pack</c:v>
                </c:pt>
                <c:pt idx="47">
                  <c:v>Gillette Fusion 5 1 Handle + 3 Cartridges Holiday Pack</c:v>
                </c:pt>
                <c:pt idx="48">
                  <c:v>Schick Hydro 5 Blade Sensitive 1 Handle + 3 Cartridges</c:v>
                </c:pt>
                <c:pt idx="49">
                  <c:v>Gillette Fusion 5 Proglide 1 Handle + 4 Cartridges</c:v>
                </c:pt>
                <c:pt idx="50">
                  <c:v>Schick Hydro 3 Blade Ultra Sensitive 1 Handle + 4 Cartridges</c:v>
                </c:pt>
                <c:pt idx="51">
                  <c:v>Gillette Sensor 3 Disposable Razors 8 Pack</c:v>
                </c:pt>
                <c:pt idx="52">
                  <c:v>Equate Caliber 3 Disposable Razors 3 Pack</c:v>
                </c:pt>
                <c:pt idx="53">
                  <c:v>Bic Men Sensitive Twin Blade Disposable Razors 10 Pack</c:v>
                </c:pt>
                <c:pt idx="54">
                  <c:v>Equate Easy Fit 5 Blade Refills 12 Pack</c:v>
                </c:pt>
                <c:pt idx="55">
                  <c:v>Bic Comfort 3 Sensitive Skin Disposable Razors 8 Pack</c:v>
                </c:pt>
                <c:pt idx="56">
                  <c:v>Equate Easy Fit 5 blades 1 Handle + 2 Cartridges</c:v>
                </c:pt>
                <c:pt idx="57">
                  <c:v>Bic Flex 5 Disposable Razors 4 Pack</c:v>
                </c:pt>
                <c:pt idx="58">
                  <c:v>Bic Flex 5 Disposable Razors 2 Pack</c:v>
                </c:pt>
                <c:pt idx="59">
                  <c:v>Gillette Sensor 2 Plus Pivot Head Disposable Razors 21 Pack</c:v>
                </c:pt>
                <c:pt idx="60">
                  <c:v>Schick Xtreme 3 Sensitive Disposable Razors 12 Pack</c:v>
                </c:pt>
                <c:pt idx="61">
                  <c:v>Gillette Mach 3 Sensitive Skin Disposable Razors 6 Pack</c:v>
                </c:pt>
                <c:pt idx="62">
                  <c:v>Bic Flex 5 Disposable Razors 6 Pack Holiday Pack</c:v>
                </c:pt>
                <c:pt idx="63">
                  <c:v>Van Der Hagen Men Double Edge Blade 1 Handle + 5 Cartridges</c:v>
                </c:pt>
                <c:pt idx="64">
                  <c:v>Gillette Sensor 2 Pivot Head Disposable Razors 25 Pack</c:v>
                </c:pt>
                <c:pt idx="65">
                  <c:v>Gillette Mach 3 Blade Refills 15 Pack</c:v>
                </c:pt>
              </c:strCache>
            </c:strRef>
          </c:cat>
          <c:val>
            <c:numRef>
              <c:f>Sheet1!$B$2:$B$67</c:f>
              <c:numCache>
                <c:formatCode>General</c:formatCode>
                <c:ptCount val="66"/>
                <c:pt idx="0">
                  <c:v>0.2017878222335917</c:v>
                </c:pt>
                <c:pt idx="1">
                  <c:v>0.11173125918678156</c:v>
                </c:pt>
                <c:pt idx="2">
                  <c:v>0.10035659900187938</c:v>
                </c:pt>
                <c:pt idx="3">
                  <c:v>0.10019268546733084</c:v>
                </c:pt>
                <c:pt idx="4">
                  <c:v>0.08691829705808003</c:v>
                </c:pt>
                <c:pt idx="5">
                  <c:v>0.0658068316371324</c:v>
                </c:pt>
                <c:pt idx="6">
                  <c:v>0.05508513324392924</c:v>
                </c:pt>
                <c:pt idx="7">
                  <c:v>0.053999415081714894</c:v>
                </c:pt>
                <c:pt idx="8">
                  <c:v>0.053969784107174894</c:v>
                </c:pt>
                <c:pt idx="9">
                  <c:v>0.04753121351838344</c:v>
                </c:pt>
                <c:pt idx="10">
                  <c:v>0.04337903329395781</c:v>
                </c:pt>
                <c:pt idx="11">
                  <c:v>0.042991938909396725</c:v>
                </c:pt>
                <c:pt idx="12">
                  <c:v>0.04295323539667833</c:v>
                </c:pt>
                <c:pt idx="13">
                  <c:v>0.03849988240261247</c:v>
                </c:pt>
                <c:pt idx="14">
                  <c:v>0.03764110854749748</c:v>
                </c:pt>
                <c:pt idx="15">
                  <c:v>0.03758454831231853</c:v>
                </c:pt>
                <c:pt idx="16">
                  <c:v>0.03436047477076864</c:v>
                </c:pt>
                <c:pt idx="17">
                  <c:v>0.02868616505616893</c:v>
                </c:pt>
                <c:pt idx="18">
                  <c:v>0.02747202600909208</c:v>
                </c:pt>
                <c:pt idx="19">
                  <c:v>0.026452056781202254</c:v>
                </c:pt>
                <c:pt idx="20">
                  <c:v>0.025658691113020493</c:v>
                </c:pt>
                <c:pt idx="21">
                  <c:v>0.02544766211332514</c:v>
                </c:pt>
                <c:pt idx="22">
                  <c:v>0.025395256620260282</c:v>
                </c:pt>
                <c:pt idx="23">
                  <c:v>0.024257877865842572</c:v>
                </c:pt>
                <c:pt idx="24">
                  <c:v>0.022685524721181936</c:v>
                </c:pt>
                <c:pt idx="25">
                  <c:v>0.021828356808484536</c:v>
                </c:pt>
                <c:pt idx="26">
                  <c:v>0.021771524204849645</c:v>
                </c:pt>
                <c:pt idx="27">
                  <c:v>0.02128741074036961</c:v>
                </c:pt>
                <c:pt idx="28">
                  <c:v>0.02121534631498876</c:v>
                </c:pt>
                <c:pt idx="29">
                  <c:v>0.02092103113862236</c:v>
                </c:pt>
                <c:pt idx="30">
                  <c:v>0.02042714017877974</c:v>
                </c:pt>
                <c:pt idx="31">
                  <c:v>0.019999053160567642</c:v>
                </c:pt>
                <c:pt idx="32">
                  <c:v>0.019904481702811592</c:v>
                </c:pt>
                <c:pt idx="33">
                  <c:v>0.018922087315551242</c:v>
                </c:pt>
                <c:pt idx="34">
                  <c:v>0.018903182823216843</c:v>
                </c:pt>
                <c:pt idx="35">
                  <c:v>0.018719743876796795</c:v>
                </c:pt>
                <c:pt idx="36">
                  <c:v>0.018713488535106612</c:v>
                </c:pt>
                <c:pt idx="37">
                  <c:v>0.018147988642045892</c:v>
                </c:pt>
                <c:pt idx="38">
                  <c:v>0.0178477922170906</c:v>
                </c:pt>
                <c:pt idx="39">
                  <c:v>0.017611293359225927</c:v>
                </c:pt>
                <c:pt idx="40">
                  <c:v>0.01760660231801644</c:v>
                </c:pt>
                <c:pt idx="41">
                  <c:v>0.01728133701520182</c:v>
                </c:pt>
                <c:pt idx="42">
                  <c:v>0.01621158837922208</c:v>
                </c:pt>
                <c:pt idx="43">
                  <c:v>0.016162757427235046</c:v>
                </c:pt>
                <c:pt idx="44">
                  <c:v>0.016044317910651106</c:v>
                </c:pt>
                <c:pt idx="45">
                  <c:v>0.015931396788839352</c:v>
                </c:pt>
                <c:pt idx="46">
                  <c:v>0.015792758301232265</c:v>
                </c:pt>
                <c:pt idx="47">
                  <c:v>0.015465069451034924</c:v>
                </c:pt>
                <c:pt idx="48">
                  <c:v>0.014948394514938021</c:v>
                </c:pt>
                <c:pt idx="49">
                  <c:v>0.01493010613449437</c:v>
                </c:pt>
                <c:pt idx="50">
                  <c:v>0.014908186457073204</c:v>
                </c:pt>
                <c:pt idx="51">
                  <c:v>0.013935544695593292</c:v>
                </c:pt>
                <c:pt idx="52">
                  <c:v>0.013912111641295122</c:v>
                </c:pt>
                <c:pt idx="53">
                  <c:v>0.013138840964781646</c:v>
                </c:pt>
                <c:pt idx="54">
                  <c:v>0.013066623788553132</c:v>
                </c:pt>
                <c:pt idx="55">
                  <c:v>0.012560523861024445</c:v>
                </c:pt>
                <c:pt idx="56">
                  <c:v>0.012475045399079244</c:v>
                </c:pt>
                <c:pt idx="57">
                  <c:v>0.012453494699609866</c:v>
                </c:pt>
                <c:pt idx="58">
                  <c:v>0.011892733312925405</c:v>
                </c:pt>
                <c:pt idx="59">
                  <c:v>0.010406231208160458</c:v>
                </c:pt>
                <c:pt idx="60">
                  <c:v>0.010012848637230159</c:v>
                </c:pt>
                <c:pt idx="61">
                  <c:v>0.00893698771239444</c:v>
                </c:pt>
                <c:pt idx="62">
                  <c:v>0.00891239165237628</c:v>
                </c:pt>
                <c:pt idx="63">
                  <c:v>0.008895339482860873</c:v>
                </c:pt>
                <c:pt idx="64">
                  <c:v>0.00864229720566419</c:v>
                </c:pt>
                <c:pt idx="65">
                  <c:v>0.008412027572682761</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Groomer 1 Handle + 1 Cartridge</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7ECAC4"/>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7ECAC4"/>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7ECAC4"/>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7ECAC4"/>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7ECAC4"/>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7ECAC4"/>
              </a:solidFill>
            </c:spPr>
            <c:extLst>
              <c:ext xmlns:c16="http://schemas.microsoft.com/office/drawing/2014/chart" uri="{C3380CC4-5D6E-409C-BE32-E72D297353CC}">
                <c16:uniqueId val="{0000003D-999B-42C0-A7D9-A2057CE05A51}"/>
              </c:ext>
            </c:extLst>
          </c:dPt>
          <c:dPt>
            <c:idx val="31"/>
            <c:invertIfNegative val="1"/>
            <c:bubble3D val="0"/>
            <c:spPr>
              <a:solidFill>
                <a:srgbClr val="7ECAC4"/>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7ECAC4"/>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7ECAC4"/>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7ECAC4"/>
              </a:solidFill>
            </c:spPr>
            <c:extLst>
              <c:ext xmlns:c16="http://schemas.microsoft.com/office/drawing/2014/chart" uri="{C3380CC4-5D6E-409C-BE32-E72D297353CC}">
                <c16:uniqueId val="{00000061-999B-42C0-A7D9-A2057CE05A51}"/>
              </c:ext>
            </c:extLst>
          </c:dPt>
          <c:dPt>
            <c:idx val="49"/>
            <c:invertIfNegative val="0"/>
            <c:bubble3D val="0"/>
            <c:spPr>
              <a:solidFill>
                <a:srgbClr val="7ECAC4"/>
              </a:solidFill>
            </c:spPr>
            <c:extLst>
              <c:ext xmlns:c16="http://schemas.microsoft.com/office/drawing/2014/chart" uri="{C3380CC4-5D6E-409C-BE32-E72D297353CC}">
                <c16:uniqueId val="{00000063-999B-42C0-A7D9-A2057CE05A51}"/>
              </c:ext>
            </c:extLst>
          </c:dPt>
          <c:dPt>
            <c:idx val="50"/>
            <c:invertIfNegative val="0"/>
            <c:bubble3D val="0"/>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7ECAC4"/>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006C6D"/>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r>
                      <a:rPr sz="500">
                        <a:solidFill>
                          <a:srgbClr val="006C6D"/>
                        </a:solidFill>
                      </a:rPr>
                      <a:t>Schick Hydro 5 Groomer 1 Handle + 1 Cartridge</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Schick Hydro 3 Blade Ultra Sensitive Refills 5 Pack</c:v>
                </c:pt>
                <c:pt idx="14">
                  <c:v>Harry's 5 Blade 1 Handle + 2 Cartridges</c:v>
                </c:pt>
                <c:pt idx="15">
                  <c:v>Gillette Mach 3 Blade Refills 8 Pack</c:v>
                </c:pt>
                <c:pt idx="16">
                  <c:v>Schick Hydro 5 Blade Sensitive Refills 6 Pack</c:v>
                </c:pt>
                <c:pt idx="17">
                  <c:v>Harry's Men Five Blade Refills 12 Pack</c:v>
                </c:pt>
                <c:pt idx="18">
                  <c:v>Gillette Fusion 5 Blade Refills 12 Pack</c:v>
                </c:pt>
                <c:pt idx="19">
                  <c:v>Gillette Fusion 5 Proglide Blade Refills 12 Pack</c:v>
                </c:pt>
                <c:pt idx="20">
                  <c:v>Schick Xtreme 3 Sensitive Disposable Razors 4 Pack</c:v>
                </c:pt>
                <c:pt idx="21">
                  <c:v>Gillette Fusion 5 1 Handle + 2 Cartridges</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Gillette Sensor 3 Disposable Razors 12 Pack</c:v>
                </c:pt>
                <c:pt idx="34">
                  <c:v>Dollar Shave Club 6 1 Handle + 2 Blades</c:v>
                </c:pt>
                <c:pt idx="35">
                  <c:v>Equate Speed 3 Disposable Razors 8 Pack</c:v>
                </c:pt>
                <c:pt idx="36">
                  <c:v>Bic Comfort 3 Sensitive Skin Disposable Razors 4 Pack</c:v>
                </c:pt>
                <c:pt idx="37">
                  <c:v>Gillette Sensor 3 Sensitive Disposable Razors 8 Pack</c:v>
                </c:pt>
                <c:pt idx="38">
                  <c:v>Gillette Fusion 5 1 Handle + 5 Cartridges</c:v>
                </c:pt>
                <c:pt idx="39">
                  <c:v>Gillette Fusion 5 1 Handle + 7 Cartridges</c:v>
                </c:pt>
                <c:pt idx="40">
                  <c:v>Dollar Shave Club 6 Blades Blade Refills 8 Pack</c:v>
                </c:pt>
                <c:pt idx="41">
                  <c:v>Gillette Mach 3 1 Handle + 6 Cartridges</c:v>
                </c:pt>
                <c:pt idx="42">
                  <c:v>Schick Xtreme 3 Sensitive Disposable Razors 8 Pack</c:v>
                </c:pt>
                <c:pt idx="43">
                  <c:v>Gillette Sensor 3 Sensitive Disposable Razors 12 Pack</c:v>
                </c:pt>
                <c:pt idx="44">
                  <c:v>Bic Flex 4 Sensitive Skin Disposable Razors 3 Pack</c:v>
                </c:pt>
                <c:pt idx="45">
                  <c:v>Gillette Fusion 5 1 Handle + 3 Cartridges Holiday Pack</c:v>
                </c:pt>
                <c:pt idx="46">
                  <c:v>Schick Hydro 5 Blade Sensitive 1 Handle + 3 Cartridges</c:v>
                </c:pt>
                <c:pt idx="47">
                  <c:v>Gillette Fusion 5 Proglide 1 Handle + 4 Cartridges</c:v>
                </c:pt>
                <c:pt idx="48">
                  <c:v>Schick Hydro 3 Blade Ultra Sensitive 1 Handle + 4 Cartridges</c:v>
                </c:pt>
                <c:pt idx="49">
                  <c:v>Schick Hydro 5 Blade Sensitive Refills 12 Pack</c:v>
                </c:pt>
                <c:pt idx="50">
                  <c:v>Gillette Sensor 3 Disposable Razors 8 Pack</c:v>
                </c:pt>
                <c:pt idx="51">
                  <c:v>Equate Caliber 3 Disposable Razors 3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Gillette Mach 3 Sensitive Skin Disposable Razors 6 Pack</c:v>
                </c:pt>
                <c:pt idx="62">
                  <c:v>Bic Flex 5 Disposable Razors 6 Pack Holiday Pack</c:v>
                </c:pt>
                <c:pt idx="63">
                  <c:v>Gillette Sensor 2 Pivot Head Disposable Razors 25 Pack</c:v>
                </c:pt>
                <c:pt idx="64">
                  <c:v>Gillette Mach 3 Blade Refills 15 Pack</c:v>
                </c:pt>
                <c:pt idx="65">
                  <c:v>Schick Hydro 5 Groomer 1 Handle + 1 Cartridge</c:v>
                </c:pt>
              </c:strCache>
            </c:strRef>
          </c:cat>
          <c:val>
            <c:numRef>
              <c:f>Sheet1!$B$2:$B$67</c:f>
              <c:numCache>
                <c:formatCode>General</c:formatCode>
                <c:ptCount val="66"/>
                <c:pt idx="0">
                  <c:v>0.2024661058257419</c:v>
                </c:pt>
                <c:pt idx="1">
                  <c:v>0.1125174594337006</c:v>
                </c:pt>
                <c:pt idx="2">
                  <c:v>0.10189482350106653</c:v>
                </c:pt>
                <c:pt idx="3">
                  <c:v>0.10189056746243816</c:v>
                </c:pt>
                <c:pt idx="4">
                  <c:v>0.08792113900879234</c:v>
                </c:pt>
                <c:pt idx="5">
                  <c:v>0.06603609788835035</c:v>
                </c:pt>
                <c:pt idx="6">
                  <c:v>0.05514900550756357</c:v>
                </c:pt>
                <c:pt idx="7">
                  <c:v>0.054037957163946666</c:v>
                </c:pt>
                <c:pt idx="8">
                  <c:v>0.05402780729120752</c:v>
                </c:pt>
                <c:pt idx="9">
                  <c:v>0.048230501100577514</c:v>
                </c:pt>
                <c:pt idx="10">
                  <c:v>0.043855588416927264</c:v>
                </c:pt>
                <c:pt idx="11">
                  <c:v>0.043327681724431785</c:v>
                </c:pt>
                <c:pt idx="12">
                  <c:v>0.039034902642014875</c:v>
                </c:pt>
                <c:pt idx="13">
                  <c:v>0.03831310485683206</c:v>
                </c:pt>
                <c:pt idx="14">
                  <c:v>0.037671333884582825</c:v>
                </c:pt>
                <c:pt idx="15">
                  <c:v>0.0354029637765134</c:v>
                </c:pt>
                <c:pt idx="16">
                  <c:v>0.033573183776267</c:v>
                </c:pt>
                <c:pt idx="17">
                  <c:v>0.028763774331906907</c:v>
                </c:pt>
                <c:pt idx="18">
                  <c:v>0.02790252740536193</c:v>
                </c:pt>
                <c:pt idx="19">
                  <c:v>0.02673561806741281</c:v>
                </c:pt>
                <c:pt idx="20">
                  <c:v>0.02585309492326084</c:v>
                </c:pt>
                <c:pt idx="21">
                  <c:v>0.025808771696624197</c:v>
                </c:pt>
                <c:pt idx="22">
                  <c:v>0.02552724772158144</c:v>
                </c:pt>
                <c:pt idx="23">
                  <c:v>0.024899979936311375</c:v>
                </c:pt>
                <c:pt idx="24">
                  <c:v>0.022792288150041095</c:v>
                </c:pt>
                <c:pt idx="25">
                  <c:v>0.02193724161806014</c:v>
                </c:pt>
                <c:pt idx="26">
                  <c:v>0.02180077686863017</c:v>
                </c:pt>
                <c:pt idx="27">
                  <c:v>0.021382047479356344</c:v>
                </c:pt>
                <c:pt idx="28">
                  <c:v>0.021268242479493125</c:v>
                </c:pt>
                <c:pt idx="29">
                  <c:v>0.021037477678954978</c:v>
                </c:pt>
                <c:pt idx="30">
                  <c:v>0.020541114962811035</c:v>
                </c:pt>
                <c:pt idx="31">
                  <c:v>0.020464733299426382</c:v>
                </c:pt>
                <c:pt idx="32">
                  <c:v>0.02002734314552744</c:v>
                </c:pt>
                <c:pt idx="33">
                  <c:v>0.01904864358513236</c:v>
                </c:pt>
                <c:pt idx="34">
                  <c:v>0.019038766199016083</c:v>
                </c:pt>
                <c:pt idx="35">
                  <c:v>0.018918129528100246</c:v>
                </c:pt>
                <c:pt idx="36">
                  <c:v>0.01876450498146206</c:v>
                </c:pt>
                <c:pt idx="37">
                  <c:v>0.018306400860144796</c:v>
                </c:pt>
                <c:pt idx="38">
                  <c:v>0.018241078346337626</c:v>
                </c:pt>
                <c:pt idx="39">
                  <c:v>0.017988647076324644</c:v>
                </c:pt>
                <c:pt idx="40">
                  <c:v>0.017435120924546497</c:v>
                </c:pt>
                <c:pt idx="41">
                  <c:v>0.016744242997912696</c:v>
                </c:pt>
                <c:pt idx="42">
                  <c:v>0.016266883432738185</c:v>
                </c:pt>
                <c:pt idx="43">
                  <c:v>0.016194346651378852</c:v>
                </c:pt>
                <c:pt idx="44">
                  <c:v>0.015914157202815856</c:v>
                </c:pt>
                <c:pt idx="45">
                  <c:v>0.015750850313552212</c:v>
                </c:pt>
                <c:pt idx="46">
                  <c:v>0.01559416119230032</c:v>
                </c:pt>
                <c:pt idx="47">
                  <c:v>0.015433094820534607</c:v>
                </c:pt>
                <c:pt idx="48">
                  <c:v>0.015409744363994508</c:v>
                </c:pt>
                <c:pt idx="49">
                  <c:v>0.014589033773006778</c:v>
                </c:pt>
                <c:pt idx="50">
                  <c:v>0.014110375208049562</c:v>
                </c:pt>
                <c:pt idx="51">
                  <c:v>0.013923839294910539</c:v>
                </c:pt>
                <c:pt idx="52">
                  <c:v>0.01339990316111559</c:v>
                </c:pt>
                <c:pt idx="53">
                  <c:v>0.013203803681729987</c:v>
                </c:pt>
                <c:pt idx="54">
                  <c:v>0.012658913917072372</c:v>
                </c:pt>
                <c:pt idx="55">
                  <c:v>0.012609875858371438</c:v>
                </c:pt>
                <c:pt idx="56">
                  <c:v>0.012602472888827267</c:v>
                </c:pt>
                <c:pt idx="57">
                  <c:v>0.011985409171914246</c:v>
                </c:pt>
                <c:pt idx="58">
                  <c:v>0.010707562010107533</c:v>
                </c:pt>
                <c:pt idx="59">
                  <c:v>0.01019662009515853</c:v>
                </c:pt>
                <c:pt idx="60">
                  <c:v>0.009063413985392522</c:v>
                </c:pt>
                <c:pt idx="61">
                  <c:v>0.009034027003850257</c:v>
                </c:pt>
                <c:pt idx="62">
                  <c:v>0.009020604559194397</c:v>
                </c:pt>
                <c:pt idx="63">
                  <c:v>0.0089374385044339</c:v>
                </c:pt>
                <c:pt idx="64">
                  <c:v>0.008686247393885412</c:v>
                </c:pt>
                <c:pt idx="65">
                  <c:v>0.008129183990973812</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Wilkinson Sword Classic Double Edge 1 Handle + 5 Cartridges</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AEABAB"/>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AEABAB"/>
              </a:solidFill>
            </c:spPr>
            <c:extLst>
              <c:ext xmlns:c16="http://schemas.microsoft.com/office/drawing/2014/chart" uri="{C3380CC4-5D6E-409C-BE32-E72D297353CC}">
                <c16:uniqueId val="{00000011-A0D8-4FF8-BF2D-A6DC7B178F5A}"/>
              </c:ext>
            </c:extLst>
          </c:dPt>
          <c:dPt>
            <c:idx val="10"/>
            <c:invertIfNegative val="1"/>
            <c:bubble3D val="0"/>
            <c:spPr>
              <a:solidFill>
                <a:srgbClr val="7ECAC4"/>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7ECAC4"/>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7ECAC4"/>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7ECAC4"/>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7ECAC4"/>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006C6D"/>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r>
                      <a:rPr sz="500">
                        <a:solidFill>
                          <a:srgbClr val="006C6D"/>
                        </a:solidFill>
                      </a:rPr>
                      <a:t>Wilkinson Sword Classic Double Edge 1 Handle + 5 Cartridges</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Bic Men Sensitive Single Blade Disposable Razors 12 Pack</c:v>
                </c:pt>
                <c:pt idx="8">
                  <c:v>Equate 2 Blade Disposable Razors 5 Pack</c:v>
                </c:pt>
                <c:pt idx="9">
                  <c:v>Van Der Hagen Men Double Edge Blade Refills 10 Pack</c:v>
                </c:pt>
                <c:pt idx="10">
                  <c:v>Equate Easy Fit 5 Blade Refills 4 Pack</c:v>
                </c:pt>
                <c:pt idx="11">
                  <c:v>Dollar Shave Club 6 Blades Blade Refills 4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Gillette Sensor 3 Disposable Razors 12 Pack</c:v>
                </c:pt>
                <c:pt idx="34">
                  <c:v>Dollar Shave Club 6 1 Handle + 2 Blades</c:v>
                </c:pt>
                <c:pt idx="35">
                  <c:v>Equate Speed 3 Disposable Razors 8 Pack</c:v>
                </c:pt>
                <c:pt idx="36">
                  <c:v>Bic Comfort 3 Sensitive Skin Disposable Razors 4 Pack</c:v>
                </c:pt>
                <c:pt idx="37">
                  <c:v>Gillette Sensor 3 Sensitive Disposable Razors 8 Pack</c:v>
                </c:pt>
                <c:pt idx="38">
                  <c:v>Gillette Fusion 5 1 Handle + 5 Cartridges</c:v>
                </c:pt>
                <c:pt idx="39">
                  <c:v>Gillette Fusion 5 1 Handle + 7 Cartridges</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Bic Flex 4 Sensitive Skin Disposable Razors 3 Pack</c:v>
                </c:pt>
                <c:pt idx="46">
                  <c:v>Gillette Fusion 5 1 Handle + 3 Cartridges Holiday Pack</c:v>
                </c:pt>
                <c:pt idx="47">
                  <c:v>Schick Hydro 3 Blade Ultra Sensitive 1 Handle + 4 Cartridges</c:v>
                </c:pt>
                <c:pt idx="48">
                  <c:v>Gillette Fusion 5 Proglide 1 Handle + 4 Cartridges</c:v>
                </c:pt>
                <c:pt idx="49">
                  <c:v>Gillette Sensor 3 Disposable Razors 8 Pack</c:v>
                </c:pt>
                <c:pt idx="50">
                  <c:v>Equate Caliber 3 Disposable Razors 3 Pack</c:v>
                </c:pt>
                <c:pt idx="51">
                  <c:v>Schick Hydro 5 Blade Sensitive Refills 12 Pack</c:v>
                </c:pt>
                <c:pt idx="52">
                  <c:v>Equate Easy Fit 5 Blade Refills 12 Pack</c:v>
                </c:pt>
                <c:pt idx="53">
                  <c:v>Bic Men Sensitive Twin Blade Disposable Razors 10 Pack</c:v>
                </c:pt>
                <c:pt idx="54">
                  <c:v>Bic Flex 5 Disposable Razors 4 Pack</c:v>
                </c:pt>
                <c:pt idx="55">
                  <c:v>Equate Easy Fit 5 blades 1 Handle + 2 Cartridges</c:v>
                </c:pt>
                <c:pt idx="56">
                  <c:v>Bic Comfort 3 Sensitive Skin Disposable Razors 8 Pack</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Bic Flex 5 Disposable Razors 6 Pack Holiday Pack</c:v>
                </c:pt>
                <c:pt idx="62">
                  <c:v>Gillette Mach 3 Sensitive Skin Disposable Razors 6 Pack</c:v>
                </c:pt>
                <c:pt idx="63">
                  <c:v>Gillette Sensor 2 Pivot Head Disposable Razors 25 Pack</c:v>
                </c:pt>
                <c:pt idx="64">
                  <c:v>Gillette Mach 3 Blade Refills 15 Pack</c:v>
                </c:pt>
                <c:pt idx="65">
                  <c:v>Wilkinson Sword Classic Double Edge 1 Handle + 5 Cartridges</c:v>
                </c:pt>
              </c:strCache>
            </c:strRef>
          </c:cat>
          <c:val>
            <c:numRef>
              <c:f>Sheet1!$B$2:$B$67</c:f>
              <c:numCache>
                <c:formatCode>General</c:formatCode>
                <c:ptCount val="66"/>
                <c:pt idx="0">
                  <c:v>0.20202630900644322</c:v>
                </c:pt>
                <c:pt idx="1">
                  <c:v>0.11335970208624772</c:v>
                </c:pt>
                <c:pt idx="2">
                  <c:v>0.10227641281495661</c:v>
                </c:pt>
                <c:pt idx="3">
                  <c:v>0.10200711514644255</c:v>
                </c:pt>
                <c:pt idx="4">
                  <c:v>0.08833383278856174</c:v>
                </c:pt>
                <c:pt idx="5">
                  <c:v>0.06592924101656378</c:v>
                </c:pt>
                <c:pt idx="6">
                  <c:v>0.05506735811591089</c:v>
                </c:pt>
                <c:pt idx="7">
                  <c:v>0.05398957138234082</c:v>
                </c:pt>
                <c:pt idx="8">
                  <c:v>0.05394746290134964</c:v>
                </c:pt>
                <c:pt idx="9">
                  <c:v>0.050010231202180254</c:v>
                </c:pt>
                <c:pt idx="10">
                  <c:v>0.04830166577339943</c:v>
                </c:pt>
                <c:pt idx="11">
                  <c:v>0.04387176901486089</c:v>
                </c:pt>
                <c:pt idx="12">
                  <c:v>0.03922755750521534</c:v>
                </c:pt>
                <c:pt idx="13">
                  <c:v>0.0375313495925053</c:v>
                </c:pt>
                <c:pt idx="14">
                  <c:v>0.03551704170038693</c:v>
                </c:pt>
                <c:pt idx="15">
                  <c:v>0.03477966060968429</c:v>
                </c:pt>
                <c:pt idx="16">
                  <c:v>0.030312458705263567</c:v>
                </c:pt>
                <c:pt idx="17">
                  <c:v>0.028776357025469594</c:v>
                </c:pt>
                <c:pt idx="18">
                  <c:v>0.028031684019483038</c:v>
                </c:pt>
                <c:pt idx="19">
                  <c:v>0.02683333538481219</c:v>
                </c:pt>
                <c:pt idx="20">
                  <c:v>0.02585579640659065</c:v>
                </c:pt>
                <c:pt idx="21">
                  <c:v>0.025841052753295173</c:v>
                </c:pt>
                <c:pt idx="22">
                  <c:v>0.025411687176955126</c:v>
                </c:pt>
                <c:pt idx="23">
                  <c:v>0.024782074590489304</c:v>
                </c:pt>
                <c:pt idx="24">
                  <c:v>0.022682728666280638</c:v>
                </c:pt>
                <c:pt idx="25">
                  <c:v>0.021938469976791282</c:v>
                </c:pt>
                <c:pt idx="26">
                  <c:v>0.021790373108850618</c:v>
                </c:pt>
                <c:pt idx="27">
                  <c:v>0.021384351334568116</c:v>
                </c:pt>
                <c:pt idx="28">
                  <c:v>0.021245150083146754</c:v>
                </c:pt>
                <c:pt idx="29">
                  <c:v>0.02102959381497947</c:v>
                </c:pt>
                <c:pt idx="30">
                  <c:v>0.020607620619788755</c:v>
                </c:pt>
                <c:pt idx="31">
                  <c:v>0.02044870773451001</c:v>
                </c:pt>
                <c:pt idx="32">
                  <c:v>0.020009857554416133</c:v>
                </c:pt>
                <c:pt idx="33">
                  <c:v>0.01904468568094584</c:v>
                </c:pt>
                <c:pt idx="34">
                  <c:v>0.018987034943056688</c:v>
                </c:pt>
                <c:pt idx="35">
                  <c:v>0.01891359953792211</c:v>
                </c:pt>
                <c:pt idx="36">
                  <c:v>0.018745939622217093</c:v>
                </c:pt>
                <c:pt idx="37">
                  <c:v>0.018300372794932917</c:v>
                </c:pt>
                <c:pt idx="38">
                  <c:v>0.018266594414567593</c:v>
                </c:pt>
                <c:pt idx="39">
                  <c:v>0.018046020920625728</c:v>
                </c:pt>
                <c:pt idx="40">
                  <c:v>0.0174241979342668</c:v>
                </c:pt>
                <c:pt idx="41">
                  <c:v>0.01673019080391846</c:v>
                </c:pt>
                <c:pt idx="42">
                  <c:v>0.016479471527007357</c:v>
                </c:pt>
                <c:pt idx="43">
                  <c:v>0.01629980754960477</c:v>
                </c:pt>
                <c:pt idx="44">
                  <c:v>0.016173492942522558</c:v>
                </c:pt>
                <c:pt idx="45">
                  <c:v>0.015939744955275753</c:v>
                </c:pt>
                <c:pt idx="46">
                  <c:v>0.015813218944270385</c:v>
                </c:pt>
                <c:pt idx="47">
                  <c:v>0.015756690146678663</c:v>
                </c:pt>
                <c:pt idx="48">
                  <c:v>0.015431106218941292</c:v>
                </c:pt>
                <c:pt idx="49">
                  <c:v>0.014112341750921688</c:v>
                </c:pt>
                <c:pt idx="50">
                  <c:v>0.013911442515595292</c:v>
                </c:pt>
                <c:pt idx="51">
                  <c:v>0.013553376416217382</c:v>
                </c:pt>
                <c:pt idx="52">
                  <c:v>0.013451941071635389</c:v>
                </c:pt>
                <c:pt idx="53">
                  <c:v>0.013188837741587797</c:v>
                </c:pt>
                <c:pt idx="54">
                  <c:v>0.012673101110425458</c:v>
                </c:pt>
                <c:pt idx="55">
                  <c:v>0.01263104555071913</c:v>
                </c:pt>
                <c:pt idx="56">
                  <c:v>0.01259383598532433</c:v>
                </c:pt>
                <c:pt idx="57">
                  <c:v>0.012010642744679124</c:v>
                </c:pt>
                <c:pt idx="58">
                  <c:v>0.010708917678654626</c:v>
                </c:pt>
                <c:pt idx="59">
                  <c:v>0.010187437671160187</c:v>
                </c:pt>
                <c:pt idx="60">
                  <c:v>0.009063589830143501</c:v>
                </c:pt>
                <c:pt idx="61">
                  <c:v>0.009045705397422145</c:v>
                </c:pt>
                <c:pt idx="62">
                  <c:v>0.00903350668047508</c:v>
                </c:pt>
                <c:pt idx="63">
                  <c:v>0.008940475447496272</c:v>
                </c:pt>
                <c:pt idx="64">
                  <c:v>0.008728192244368275</c:v>
                </c:pt>
                <c:pt idx="65">
                  <c:v>0.006655861613680561</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Quattro Four Blade Refills 3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7ECAC4"/>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7ECAC4"/>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7ECAC4"/>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7ECAC4"/>
              </a:solidFill>
            </c:spPr>
            <c:extLst>
              <c:ext xmlns:c16="http://schemas.microsoft.com/office/drawing/2014/chart" uri="{C3380CC4-5D6E-409C-BE32-E72D297353CC}">
                <c16:uniqueId val="{0000003D-902D-4251-AC41-C6D4CBCA5CD6}"/>
              </c:ext>
            </c:extLst>
          </c:dPt>
          <c:dPt>
            <c:idx val="31"/>
            <c:invertIfNegative val="1"/>
            <c:bubble3D val="0"/>
            <c:spPr>
              <a:solidFill>
                <a:srgbClr val="7ECAC4"/>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AEABAB"/>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7ECAC4"/>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7ECAC4"/>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AEABAB"/>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7ECAC4"/>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7ECAC4"/>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006C6D"/>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r>
                      <a:rPr sz="500">
                        <a:solidFill>
                          <a:srgbClr val="006C6D"/>
                        </a:solidFill>
                      </a:rPr>
                      <a:t>Schick Quattro Four Blade Refills 3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Schick Hydro 3 Blade Ultra Sensitive 1 Handle + 4 Cartridges</c:v>
                </c:pt>
                <c:pt idx="46">
                  <c:v>Bic Flex 4 Sensitive Skin Disposable Razors 3 Pack</c:v>
                </c:pt>
                <c:pt idx="47">
                  <c:v>Gillette Fusion 5 1 Handle + 3 Cartridges Holiday Pack</c:v>
                </c:pt>
                <c:pt idx="48">
                  <c:v>Gillette Fusion 5 Proglide 1 Handle + 4 Cartridges</c:v>
                </c:pt>
                <c:pt idx="49">
                  <c:v>Gillette Sensor 3 Disposable Razors 8 Pack</c:v>
                </c:pt>
                <c:pt idx="50">
                  <c:v>Equate Caliber 3 Disposable Razors 3 Pack</c:v>
                </c:pt>
                <c:pt idx="51">
                  <c:v>Schick Hydro 5 Blade Sensitive Refills 12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Bic Flex 5 Disposable Razors 6 Pack Holiday Pack</c:v>
                </c:pt>
                <c:pt idx="62">
                  <c:v>Gillette Mach 3 Sensitive Skin Disposable Razors 6 Pack</c:v>
                </c:pt>
                <c:pt idx="63">
                  <c:v>Gillette Sensor 2 Pivot Head Disposable Razors 25 Pack</c:v>
                </c:pt>
                <c:pt idx="64">
                  <c:v>Gillette Mach 3 Blade Refills 15 Pack</c:v>
                </c:pt>
                <c:pt idx="65">
                  <c:v>Schick Quattro Four Blade Refills 3 Pack</c:v>
                </c:pt>
              </c:strCache>
            </c:strRef>
          </c:cat>
          <c:val>
            <c:numRef>
              <c:f>Sheet1!$B$2:$B$67</c:f>
              <c:numCache>
                <c:formatCode>General</c:formatCode>
                <c:ptCount val="66"/>
                <c:pt idx="0">
                  <c:v>0.20300295906265753</c:v>
                </c:pt>
                <c:pt idx="1">
                  <c:v>0.11381692950854114</c:v>
                </c:pt>
                <c:pt idx="2">
                  <c:v>0.10240064152597171</c:v>
                </c:pt>
                <c:pt idx="3">
                  <c:v>0.10220563071471317</c:v>
                </c:pt>
                <c:pt idx="4">
                  <c:v>0.0881822079554288</c:v>
                </c:pt>
                <c:pt idx="5">
                  <c:v>0.0662040805778021</c:v>
                </c:pt>
                <c:pt idx="6">
                  <c:v>0.05522089928608409</c:v>
                </c:pt>
                <c:pt idx="7">
                  <c:v>0.05410682515801501</c:v>
                </c:pt>
                <c:pt idx="8">
                  <c:v>0.05404968454093983</c:v>
                </c:pt>
                <c:pt idx="9">
                  <c:v>0.048521136379663994</c:v>
                </c:pt>
                <c:pt idx="10">
                  <c:v>0.044136240670000694</c:v>
                </c:pt>
                <c:pt idx="11">
                  <c:v>0.04352765429002719</c:v>
                </c:pt>
                <c:pt idx="12">
                  <c:v>0.03916650424393949</c:v>
                </c:pt>
                <c:pt idx="13">
                  <c:v>0.03798986816662777</c:v>
                </c:pt>
                <c:pt idx="14">
                  <c:v>0.03570875750814888</c:v>
                </c:pt>
                <c:pt idx="15">
                  <c:v>0.03503214497976811</c:v>
                </c:pt>
                <c:pt idx="16">
                  <c:v>0.030643370886142704</c:v>
                </c:pt>
                <c:pt idx="17">
                  <c:v>0.02878611642659176</c:v>
                </c:pt>
                <c:pt idx="18">
                  <c:v>0.02799310207591446</c:v>
                </c:pt>
                <c:pt idx="19">
                  <c:v>0.026764317153614058</c:v>
                </c:pt>
                <c:pt idx="20">
                  <c:v>0.026167380399026507</c:v>
                </c:pt>
                <c:pt idx="21">
                  <c:v>0.025999703513135138</c:v>
                </c:pt>
                <c:pt idx="22">
                  <c:v>0.025598372441058247</c:v>
                </c:pt>
                <c:pt idx="23">
                  <c:v>0.025278088494842126</c:v>
                </c:pt>
                <c:pt idx="24">
                  <c:v>0.023014339441218765</c:v>
                </c:pt>
                <c:pt idx="25">
                  <c:v>0.022008818223320754</c:v>
                </c:pt>
                <c:pt idx="26">
                  <c:v>0.021834403856540938</c:v>
                </c:pt>
                <c:pt idx="27">
                  <c:v>0.0214358748899545</c:v>
                </c:pt>
                <c:pt idx="28">
                  <c:v>0.021305767098765187</c:v>
                </c:pt>
                <c:pt idx="29">
                  <c:v>0.021091492331081787</c:v>
                </c:pt>
                <c:pt idx="30">
                  <c:v>0.020741502344688245</c:v>
                </c:pt>
                <c:pt idx="31">
                  <c:v>0.02050417965537951</c:v>
                </c:pt>
                <c:pt idx="32">
                  <c:v>0.020081240624723603</c:v>
                </c:pt>
                <c:pt idx="33">
                  <c:v>0.01919135750659751</c:v>
                </c:pt>
                <c:pt idx="34">
                  <c:v>0.01915402241671098</c:v>
                </c:pt>
                <c:pt idx="35">
                  <c:v>0.018931220009451896</c:v>
                </c:pt>
                <c:pt idx="36">
                  <c:v>0.018795964234193285</c:v>
                </c:pt>
                <c:pt idx="37">
                  <c:v>0.018448826554381324</c:v>
                </c:pt>
                <c:pt idx="38">
                  <c:v>0.018374788137555612</c:v>
                </c:pt>
                <c:pt idx="39">
                  <c:v>0.018171927296408423</c:v>
                </c:pt>
                <c:pt idx="40">
                  <c:v>0.01750962111139241</c:v>
                </c:pt>
                <c:pt idx="41">
                  <c:v>0.01693705902061385</c:v>
                </c:pt>
                <c:pt idx="42">
                  <c:v>0.016933462052213227</c:v>
                </c:pt>
                <c:pt idx="43">
                  <c:v>0.016431988377147523</c:v>
                </c:pt>
                <c:pt idx="44">
                  <c:v>0.01624914992756208</c:v>
                </c:pt>
                <c:pt idx="45">
                  <c:v>0.016099158274303787</c:v>
                </c:pt>
                <c:pt idx="46">
                  <c:v>0.016009198680041224</c:v>
                </c:pt>
                <c:pt idx="47">
                  <c:v>0.015953846925057868</c:v>
                </c:pt>
                <c:pt idx="48">
                  <c:v>0.015585404088455629</c:v>
                </c:pt>
                <c:pt idx="49">
                  <c:v>0.014180038753009466</c:v>
                </c:pt>
                <c:pt idx="50">
                  <c:v>0.01393646266717886</c:v>
                </c:pt>
                <c:pt idx="51">
                  <c:v>0.013620233383446825</c:v>
                </c:pt>
                <c:pt idx="52">
                  <c:v>0.013524827875371416</c:v>
                </c:pt>
                <c:pt idx="53">
                  <c:v>0.013233377405899936</c:v>
                </c:pt>
                <c:pt idx="54">
                  <c:v>0.012914570843093477</c:v>
                </c:pt>
                <c:pt idx="55">
                  <c:v>0.012721311033404207</c:v>
                </c:pt>
                <c:pt idx="56">
                  <c:v>0.012624816566346743</c:v>
                </c:pt>
                <c:pt idx="57">
                  <c:v>0.012073368025706039</c:v>
                </c:pt>
                <c:pt idx="58">
                  <c:v>0.010800361523770893</c:v>
                </c:pt>
                <c:pt idx="59">
                  <c:v>0.010294312021952669</c:v>
                </c:pt>
                <c:pt idx="60">
                  <c:v>0.009253060586314612</c:v>
                </c:pt>
                <c:pt idx="61">
                  <c:v>0.009088976336341406</c:v>
                </c:pt>
                <c:pt idx="62">
                  <c:v>0.009079620727151363</c:v>
                </c:pt>
                <c:pt idx="63">
                  <c:v>0.009028482379881204</c:v>
                </c:pt>
                <c:pt idx="64">
                  <c:v>0.008753751760762572</c:v>
                </c:pt>
                <c:pt idx="65">
                  <c:v>0.00357519907395387</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Blad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Blade Pro Sensitive Refills 6 Pack @9.97</c:v>
                </c:pt>
                <c:pt idx="1">
                  <c:v>Schick Hydro 5 Blade Sensitive Refills 4 Pack @9.97</c:v>
                </c:pt>
                <c:pt idx="2">
                  <c:v>Schick Quattro Four Blade Refills 3 Pack @4.97</c:v>
                </c:pt>
                <c:pt idx="3">
                  <c:v>Schick Quattro Four Blade Refills 6 Pack @9.97</c:v>
                </c:pt>
              </c:strCache>
            </c:strRef>
          </c:cat>
          <c:val>
            <c:numRef>
              <c:f>Sheet1!$B$2:$B$5</c:f>
              <c:numCache>
                <c:formatCode>General</c:formatCode>
                <c:ptCount val="4"/>
                <c:pt idx="0">
                  <c:v>113.18569542934127</c:v>
                </c:pt>
                <c:pt idx="1">
                  <c:v>128.85915011259078</c:v>
                </c:pt>
                <c:pt idx="2">
                  <c:v>105.31305048166433</c:v>
                </c:pt>
                <c:pt idx="3">
                  <c:v>102.74678394838136</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Blad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Blade Pro Sensitive Refills 6 Pack @9.97</c:v>
                </c:pt>
                <c:pt idx="1">
                  <c:v>Schick Hydro 5 Blade Sensitive Refills 4 Pack @9.97</c:v>
                </c:pt>
                <c:pt idx="2">
                  <c:v>Schick Quattro Four Blade Refills 3 Pack @4.97</c:v>
                </c:pt>
                <c:pt idx="3">
                  <c:v>Schick Quattro Four Blade Refills 6 Pack @9.97</c:v>
                </c:pt>
              </c:strCache>
            </c:strRef>
          </c:cat>
          <c:val>
            <c:numRef>
              <c:f>Sheet1!$C$2:$C$5</c:f>
              <c:numCache>
                <c:formatCode>General</c:formatCode>
                <c:ptCount val="4"/>
                <c:pt idx="0">
                  <c:v>104.3556546618611</c:v>
                </c:pt>
                <c:pt idx="1">
                  <c:v>113.16660747727335</c:v>
                </c:pt>
                <c:pt idx="2">
                  <c:v>101.61794216470881</c:v>
                </c:pt>
                <c:pt idx="3">
                  <c:v>101.6757880928602</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Blad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Blade Pro Sensitive Refills 6 Pack @9.97</c:v>
                </c:pt>
                <c:pt idx="1">
                  <c:v>Schick Hydro 5 Blade Sensitive Refills 4 Pack @9.97</c:v>
                </c:pt>
                <c:pt idx="2">
                  <c:v>Schick Quattro Four Blade Refills 3 Pack @4.97</c:v>
                </c:pt>
                <c:pt idx="3">
                  <c:v>Schick Quattro Four Blade Refills 6 Pack @9.97</c:v>
                </c:pt>
              </c:strCache>
            </c:strRef>
          </c:cat>
          <c:val>
            <c:numRef>
              <c:f>Sheet1!$D$2:$D$5</c:f>
              <c:numCache>
                <c:formatCode>General</c:formatCode>
                <c:ptCount val="4"/>
                <c:pt idx="0">
                  <c:v>105.86746341739439</c:v>
                </c:pt>
                <c:pt idx="1">
                  <c:v>160.8698173051292</c:v>
                </c:pt>
                <c:pt idx="2">
                  <c:v>101.49189136055755</c:v>
                </c:pt>
                <c:pt idx="3">
                  <c:v>101.5476757889119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Blad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chick Hydro 3 Blade Ingrown Defense Refills 6 Pack @14.97</c:v>
                </c:pt>
                <c:pt idx="1">
                  <c:v>Schick Hydro 5 Blade Advanced Hydration Refills 6 Pack @14.97</c:v>
                </c:pt>
                <c:pt idx="2">
                  <c:v>Schick Hydro 5 Blade Chrome Refills 6 Pack @14.97</c:v>
                </c:pt>
              </c:strCache>
            </c:strRef>
          </c:cat>
          <c:val>
            <c:numRef>
              <c:f>Sheet1!$B$2:$B$4</c:f>
              <c:numCache>
                <c:formatCode>General</c:formatCode>
                <c:ptCount val="3"/>
                <c:pt idx="0">
                  <c:v>112.11508364445667</c:v>
                </c:pt>
                <c:pt idx="1">
                  <c:v>111.1328678807296</c:v>
                </c:pt>
                <c:pt idx="2">
                  <c:v>117.81678212952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Blad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chick Hydro 3 Blade Ingrown Defense Refills 6 Pack @14.97</c:v>
                </c:pt>
                <c:pt idx="1">
                  <c:v>Schick Hydro 5 Blade Advanced Hydration Refills 6 Pack @14.97</c:v>
                </c:pt>
                <c:pt idx="2">
                  <c:v>Schick Hydro 5 Blade Chrome Refills 6 Pack @14.97</c:v>
                </c:pt>
              </c:strCache>
            </c:strRef>
          </c:cat>
          <c:val>
            <c:numRef>
              <c:f>Sheet1!$C$2:$C$4</c:f>
              <c:numCache>
                <c:formatCode>General</c:formatCode>
                <c:ptCount val="3"/>
                <c:pt idx="0">
                  <c:v>110.88057693543394</c:v>
                </c:pt>
                <c:pt idx="1">
                  <c:v>108.19184250730463</c:v>
                </c:pt>
                <c:pt idx="2">
                  <c:v>115.13053228844356</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Blad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chick Hydro 3 Blade Ingrown Defense Refills 6 Pack @14.97</c:v>
                </c:pt>
                <c:pt idx="1">
                  <c:v>Schick Hydro 5 Blade Advanced Hydration Refills 6 Pack @14.97</c:v>
                </c:pt>
                <c:pt idx="2">
                  <c:v>Schick Hydro 5 Blade Chrome Refills 6 Pack @14.97</c:v>
                </c:pt>
              </c:strCache>
            </c:strRef>
          </c:cat>
          <c:val>
            <c:numRef>
              <c:f>Sheet1!$D$2:$D$4</c:f>
              <c:numCache>
                <c:formatCode>General</c:formatCode>
                <c:ptCount val="3"/>
                <c:pt idx="0">
                  <c:v>110.9031959137828</c:v>
                </c:pt>
                <c:pt idx="1">
                  <c:v>107.87061176126443</c:v>
                </c:pt>
                <c:pt idx="2">
                  <c:v>117.76452164104003</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Disp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2 Sensitive Disposable Razors 24 Pack @11.97</c:v>
                </c:pt>
                <c:pt idx="1">
                  <c:v>Schick Xtreme 5 Sensitive Disposable Razors 4 Pack @11.97</c:v>
                </c:pt>
                <c:pt idx="2">
                  <c:v>Schick Xtreme 5 Sensitive Disposable Razors 8 Pack @19.97</c:v>
                </c:pt>
                <c:pt idx="3">
                  <c:v>Schick Xtreme 3 Body &amp; Groin Disposable Razors 3 Pack @9.97</c:v>
                </c:pt>
                <c:pt idx="4">
                  <c:v>Schick Hydro 5 Ultimate Comfort Disposable Razors 3 Pack @9.97</c:v>
                </c:pt>
              </c:strCache>
            </c:strRef>
          </c:cat>
          <c:val>
            <c:numRef>
              <c:f>Sheet1!$B$2:$B$6</c:f>
              <c:numCache>
                <c:formatCode>General</c:formatCode>
                <c:ptCount val="5"/>
                <c:pt idx="0">
                  <c:v>106.0686130583518</c:v>
                </c:pt>
                <c:pt idx="1">
                  <c:v>109.01733524635256</c:v>
                </c:pt>
                <c:pt idx="2">
                  <c:v>108.18996832874824</c:v>
                </c:pt>
                <c:pt idx="3">
                  <c:v>106.22659025896898</c:v>
                </c:pt>
                <c:pt idx="4">
                  <c:v>108.90290295783542</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Dispo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2 Sensitive Disposable Razors 24 Pack @11.97</c:v>
                </c:pt>
                <c:pt idx="1">
                  <c:v>Schick Xtreme 5 Sensitive Disposable Razors 4 Pack @11.97</c:v>
                </c:pt>
                <c:pt idx="2">
                  <c:v>Schick Xtreme 5 Sensitive Disposable Razors 8 Pack @19.97</c:v>
                </c:pt>
                <c:pt idx="3">
                  <c:v>Schick Xtreme 3 Body &amp; Groin Disposable Razors 3 Pack @9.97</c:v>
                </c:pt>
                <c:pt idx="4">
                  <c:v>Schick Hydro 5 Ultimate Comfort Disposable Razors 3 Pack @9.97</c:v>
                </c:pt>
              </c:strCache>
            </c:strRef>
          </c:cat>
          <c:val>
            <c:numRef>
              <c:f>Sheet1!$C$2:$C$6</c:f>
              <c:numCache>
                <c:formatCode>General</c:formatCode>
                <c:ptCount val="5"/>
                <c:pt idx="0">
                  <c:v>110.0816269306776</c:v>
                </c:pt>
                <c:pt idx="1">
                  <c:v>113.89099103262954</c:v>
                </c:pt>
                <c:pt idx="2">
                  <c:v>123.160803313972</c:v>
                </c:pt>
                <c:pt idx="3">
                  <c:v>107.84728117233257</c:v>
                </c:pt>
                <c:pt idx="4">
                  <c:v>111.1499445923986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Disp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hick Xtreme 2 Sensitive Disposable Razors 24 Pack @11.97</c:v>
                </c:pt>
                <c:pt idx="1">
                  <c:v>Schick Xtreme 5 Sensitive Disposable Razors 4 Pack @11.97</c:v>
                </c:pt>
                <c:pt idx="2">
                  <c:v>Schick Xtreme 5 Sensitive Disposable Razors 8 Pack @19.97</c:v>
                </c:pt>
                <c:pt idx="3">
                  <c:v>Schick Xtreme 3 Body &amp; Groin Disposable Razors 3 Pack @9.97</c:v>
                </c:pt>
                <c:pt idx="4">
                  <c:v>Schick Hydro 5 Ultimate Comfort Disposable Razors 3 Pack @9.97</c:v>
                </c:pt>
              </c:strCache>
            </c:strRef>
          </c:cat>
          <c:val>
            <c:numRef>
              <c:f>Sheet1!$D$2:$D$6</c:f>
              <c:numCache>
                <c:formatCode>General</c:formatCode>
                <c:ptCount val="5"/>
                <c:pt idx="0">
                  <c:v>112.32090661569976</c:v>
                </c:pt>
                <c:pt idx="1">
                  <c:v>117.20121764290894</c:v>
                </c:pt>
                <c:pt idx="2">
                  <c:v>126.10644544061232</c:v>
                </c:pt>
                <c:pt idx="3">
                  <c:v>107.01013730025153</c:v>
                </c:pt>
                <c:pt idx="4">
                  <c:v>111.18044175879321</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Disp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5 Sensitive Disposable Razors 2 Pack @6.47</c:v>
                </c:pt>
                <c:pt idx="1">
                  <c:v>Schick First 4 Blade Disposable Razors 3 Pack @6.47</c:v>
                </c:pt>
              </c:strCache>
            </c:strRef>
          </c:cat>
          <c:val>
            <c:numRef>
              <c:f>Sheet1!$B$2:$B$3</c:f>
              <c:numCache>
                <c:formatCode>General</c:formatCode>
                <c:ptCount val="2"/>
                <c:pt idx="0">
                  <c:v>115.5376660410114</c:v>
                </c:pt>
                <c:pt idx="1">
                  <c:v>103.55454538586271</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Dispo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5 Sensitive Disposable Razors 2 Pack @6.47</c:v>
                </c:pt>
                <c:pt idx="1">
                  <c:v>Schick First 4 Blade Disposable Razors 3 Pack @6.47</c:v>
                </c:pt>
              </c:strCache>
            </c:strRef>
          </c:cat>
          <c:val>
            <c:numRef>
              <c:f>Sheet1!$C$2:$C$3</c:f>
              <c:numCache>
                <c:formatCode>General</c:formatCode>
                <c:ptCount val="2"/>
                <c:pt idx="0">
                  <c:v>111.00647932379168</c:v>
                </c:pt>
                <c:pt idx="1">
                  <c:v>102.60613373973726</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Disp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hick Xtreme 5 Sensitive Disposable Razors 2 Pack @6.47</c:v>
                </c:pt>
                <c:pt idx="1">
                  <c:v>Schick First 4 Blade Disposable Razors 3 Pack @6.47</c:v>
                </c:pt>
              </c:strCache>
            </c:strRef>
          </c:cat>
          <c:val>
            <c:numRef>
              <c:f>Sheet1!$D$2:$D$3</c:f>
              <c:numCache>
                <c:formatCode>General</c:formatCode>
                <c:ptCount val="2"/>
                <c:pt idx="0">
                  <c:v>114.56560814089647</c:v>
                </c:pt>
                <c:pt idx="1">
                  <c:v>102.2552296198828</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Equate Blad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quate 5 Blades Blade Refills 4 Pack @7.97</c:v>
                </c:pt>
              </c:strCache>
            </c:strRef>
          </c:cat>
          <c:val>
            <c:numRef>
              <c:f>Sheet1!$B$2:$B$2</c:f>
              <c:numCache>
                <c:formatCode>General</c:formatCode>
                <c:ptCount val="1"/>
                <c:pt idx="0">
                  <c:v>129.06633019977497</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Equate Blad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quate 5 Blades Blade Refills 4 Pack @7.97</c:v>
                </c:pt>
              </c:strCache>
            </c:strRef>
          </c:cat>
          <c:val>
            <c:numRef>
              <c:f>Sheet1!$C$2:$C$2</c:f>
              <c:numCache>
                <c:formatCode>General</c:formatCode>
                <c:ptCount val="1"/>
                <c:pt idx="0">
                  <c:v>120.19821420434842</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Equate Blad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Equate 5 Blades Blade Refills 4 Pack @7.97</c:v>
                </c:pt>
              </c:strCache>
            </c:strRef>
          </c:cat>
          <c:val>
            <c:numRef>
              <c:f>Sheet1!$D$2:$D$2</c:f>
              <c:numCache>
                <c:formatCode>General</c:formatCode>
                <c:ptCount val="1"/>
                <c:pt idx="0">
                  <c:v>120.8531760064385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Equate Dispo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quate 2 Blade Disposable Razors 20 Pack @3.47</c:v>
                </c:pt>
                <c:pt idx="1">
                  <c:v>Equate Caliber 3 Disposable Razors 6 Pack @6.47</c:v>
                </c:pt>
                <c:pt idx="2">
                  <c:v>Equate Caliber 5 Disposable Razors 6 Pack @8.37</c:v>
                </c:pt>
              </c:strCache>
            </c:strRef>
          </c:cat>
          <c:val>
            <c:numRef>
              <c:f>Sheet1!$B$2:$B$4</c:f>
              <c:numCache>
                <c:formatCode>General</c:formatCode>
                <c:ptCount val="3"/>
                <c:pt idx="0">
                  <c:v>103.8474267995961</c:v>
                </c:pt>
                <c:pt idx="1">
                  <c:v>101.34688663258618</c:v>
                </c:pt>
                <c:pt idx="2">
                  <c:v>102.05668410904458</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Equate Dispo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quate 2 Blade Disposable Razors 20 Pack @3.47</c:v>
                </c:pt>
                <c:pt idx="1">
                  <c:v>Equate Caliber 3 Disposable Razors 6 Pack @6.47</c:v>
                </c:pt>
                <c:pt idx="2">
                  <c:v>Equate Caliber 5 Disposable Razors 6 Pack @8.37</c:v>
                </c:pt>
              </c:strCache>
            </c:strRef>
          </c:cat>
          <c:val>
            <c:numRef>
              <c:f>Sheet1!$C$2:$C$4</c:f>
              <c:numCache>
                <c:formatCode>General</c:formatCode>
                <c:ptCount val="3"/>
                <c:pt idx="0">
                  <c:v>107.62180001515583</c:v>
                </c:pt>
                <c:pt idx="1">
                  <c:v>103.56125230307241</c:v>
                </c:pt>
                <c:pt idx="2">
                  <c:v>106.49821695170883</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Equate Dispo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quate 2 Blade Disposable Razors 20 Pack @3.47</c:v>
                </c:pt>
                <c:pt idx="1">
                  <c:v>Equate Caliber 3 Disposable Razors 6 Pack @6.47</c:v>
                </c:pt>
                <c:pt idx="2">
                  <c:v>Equate Caliber 5 Disposable Razors 6 Pack @8.37</c:v>
                </c:pt>
              </c:strCache>
            </c:strRef>
          </c:cat>
          <c:val>
            <c:numRef>
              <c:f>Sheet1!$D$2:$D$4</c:f>
              <c:numCache>
                <c:formatCode>General</c:formatCode>
                <c:ptCount val="3"/>
                <c:pt idx="0">
                  <c:v>90.51758540253365</c:v>
                </c:pt>
                <c:pt idx="1">
                  <c:v>103.42726845446104</c:v>
                </c:pt>
                <c:pt idx="2">
                  <c:v>107.477374994410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Equate Razor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quate 5 Blades 1 Handle + 2 Cartridges @7.97</c:v>
                </c:pt>
                <c:pt idx="1">
                  <c:v>Equate Easy Fit 5 blades 1 Handle + 5 Cartridges @11.97</c:v>
                </c:pt>
              </c:strCache>
            </c:strRef>
          </c:cat>
          <c:val>
            <c:numRef>
              <c:f>Sheet1!$B$2:$B$3</c:f>
              <c:numCache>
                <c:formatCode>General</c:formatCode>
                <c:ptCount val="2"/>
                <c:pt idx="0">
                  <c:v>135.6868460496095</c:v>
                </c:pt>
                <c:pt idx="1">
                  <c:v>133.20880929697435</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Equate Razor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quate 5 Blades 1 Handle + 2 Cartridges @7.97</c:v>
                </c:pt>
                <c:pt idx="1">
                  <c:v>Equate Easy Fit 5 blades 1 Handle + 5 Cartridges @11.97</c:v>
                </c:pt>
              </c:strCache>
            </c:strRef>
          </c:cat>
          <c:val>
            <c:numRef>
              <c:f>Sheet1!$C$2:$C$3</c:f>
              <c:numCache>
                <c:formatCode>General</c:formatCode>
                <c:ptCount val="2"/>
                <c:pt idx="0">
                  <c:v>135.68684604960953</c:v>
                </c:pt>
                <c:pt idx="1">
                  <c:v>151.6451533244459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Equate Razor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quate 5 Blades 1 Handle + 2 Cartridges @7.97</c:v>
                </c:pt>
                <c:pt idx="1">
                  <c:v>Equate Easy Fit 5 blades 1 Handle + 5 Cartridges @11.97</c:v>
                </c:pt>
              </c:strCache>
            </c:strRef>
          </c:cat>
          <c:val>
            <c:numRef>
              <c:f>Sheet1!$D$2:$D$3</c:f>
              <c:numCache>
                <c:formatCode>General</c:formatCode>
                <c:ptCount val="2"/>
                <c:pt idx="0">
                  <c:v>133.45562928113708</c:v>
                </c:pt>
                <c:pt idx="1">
                  <c:v>153.8037153603963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Razor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Blade Pro Sensitive 1 Handle + 3 Cartridges @9.97</c:v>
                </c:pt>
                <c:pt idx="1">
                  <c:v>Schick Hydro 3 Blade Ingrown Defense 1 Handle + 3 Cartridges @9.97</c:v>
                </c:pt>
                <c:pt idx="2">
                  <c:v>Schick Hydro 5 Blade Advanced Hydration 1 Handle + 3 Cartridges @9.97</c:v>
                </c:pt>
                <c:pt idx="3">
                  <c:v>Schick Quattro Four Blade 1 Handle + 4 Cartriges @9.97</c:v>
                </c:pt>
              </c:strCache>
            </c:strRef>
          </c:cat>
          <c:val>
            <c:numRef>
              <c:f>Sheet1!$B$2:$B$5</c:f>
              <c:numCache>
                <c:formatCode>General</c:formatCode>
                <c:ptCount val="4"/>
                <c:pt idx="0">
                  <c:v>132.52299613186636</c:v>
                </c:pt>
                <c:pt idx="1">
                  <c:v>134.32192847462886</c:v>
                </c:pt>
                <c:pt idx="2">
                  <c:v>132.98958465345197</c:v>
                </c:pt>
                <c:pt idx="3">
                  <c:v>129.17466947092734</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Razor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Blade Pro Sensitive 1 Handle + 3 Cartridges @9.97</c:v>
                </c:pt>
                <c:pt idx="1">
                  <c:v>Schick Hydro 3 Blade Ingrown Defense 1 Handle + 3 Cartridges @9.97</c:v>
                </c:pt>
                <c:pt idx="2">
                  <c:v>Schick Hydro 5 Blade Advanced Hydration 1 Handle + 3 Cartridges @9.97</c:v>
                </c:pt>
                <c:pt idx="3">
                  <c:v>Schick Quattro Four Blade 1 Handle + 4 Cartriges @9.97</c:v>
                </c:pt>
              </c:strCache>
            </c:strRef>
          </c:cat>
          <c:val>
            <c:numRef>
              <c:f>Sheet1!$C$2:$C$5</c:f>
              <c:numCache>
                <c:formatCode>General</c:formatCode>
                <c:ptCount val="4"/>
                <c:pt idx="0">
                  <c:v>132.57320596038764</c:v>
                </c:pt>
                <c:pt idx="1">
                  <c:v>134.37287545554116</c:v>
                </c:pt>
                <c:pt idx="2">
                  <c:v>133.04536473561444</c:v>
                </c:pt>
                <c:pt idx="3">
                  <c:v>129.21797206723375</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Razor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3 Blade Pro Sensitive 1 Handle + 3 Cartridges @9.97</c:v>
                </c:pt>
                <c:pt idx="1">
                  <c:v>Schick Hydro 3 Blade Ingrown Defense 1 Handle + 3 Cartridges @9.97</c:v>
                </c:pt>
                <c:pt idx="2">
                  <c:v>Schick Hydro 5 Blade Advanced Hydration 1 Handle + 3 Cartridges @9.97</c:v>
                </c:pt>
                <c:pt idx="3">
                  <c:v>Schick Quattro Four Blade 1 Handle + 4 Cartriges @9.97</c:v>
                </c:pt>
              </c:strCache>
            </c:strRef>
          </c:cat>
          <c:val>
            <c:numRef>
              <c:f>Sheet1!$D$2:$D$5</c:f>
              <c:numCache>
                <c:formatCode>General</c:formatCode>
                <c:ptCount val="4"/>
                <c:pt idx="0">
                  <c:v>146.76553272311972</c:v>
                </c:pt>
                <c:pt idx="1">
                  <c:v>143.0761115042985</c:v>
                </c:pt>
                <c:pt idx="2">
                  <c:v>142.03846843213222</c:v>
                </c:pt>
                <c:pt idx="3">
                  <c:v>132.1703200137698</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Schick Razor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5 Blade Sensitive 1 Handle + 5 Cartridges @14.97</c:v>
                </c:pt>
                <c:pt idx="1">
                  <c:v>Schick Hydro 5 Blade Sensitive 1 Handle + 8 Cartridges @19.97</c:v>
                </c:pt>
                <c:pt idx="2">
                  <c:v>Schick Hydro 5 Blade Chrome 1 Handle + 3 Cartridges + Docking Station/Stand + Travel Cover @19.97</c:v>
                </c:pt>
                <c:pt idx="3">
                  <c:v>Schick Hydro 5 Groomer 1 Handle + 1 Cartridge @14.97</c:v>
                </c:pt>
              </c:strCache>
            </c:strRef>
          </c:cat>
          <c:val>
            <c:numRef>
              <c:f>Sheet1!$B$2:$B$5</c:f>
              <c:numCache>
                <c:formatCode>General</c:formatCode>
                <c:ptCount val="4"/>
                <c:pt idx="0">
                  <c:v>134.12041039022225</c:v>
                </c:pt>
                <c:pt idx="1">
                  <c:v>136.28121521476803</c:v>
                </c:pt>
                <c:pt idx="2">
                  <c:v>149.35523485287234</c:v>
                </c:pt>
                <c:pt idx="3">
                  <c:v>119.9362055634664</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Schick Razor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5 Blade Sensitive 1 Handle + 5 Cartridges @14.97</c:v>
                </c:pt>
                <c:pt idx="1">
                  <c:v>Schick Hydro 5 Blade Sensitive 1 Handle + 8 Cartridges @19.97</c:v>
                </c:pt>
                <c:pt idx="2">
                  <c:v>Schick Hydro 5 Blade Chrome 1 Handle + 3 Cartridges + Docking Station/Stand + Travel Cover @19.97</c:v>
                </c:pt>
                <c:pt idx="3">
                  <c:v>Schick Hydro 5 Groomer 1 Handle + 1 Cartridge @14.97</c:v>
                </c:pt>
              </c:strCache>
            </c:strRef>
          </c:cat>
          <c:val>
            <c:numRef>
              <c:f>Sheet1!$C$2:$C$5</c:f>
              <c:numCache>
                <c:formatCode>General</c:formatCode>
                <c:ptCount val="4"/>
                <c:pt idx="0">
                  <c:v>158.66063008880244</c:v>
                </c:pt>
                <c:pt idx="1">
                  <c:v>183.95544051242396</c:v>
                </c:pt>
                <c:pt idx="2">
                  <c:v>208.15619105451768</c:v>
                </c:pt>
                <c:pt idx="3">
                  <c:v>132.9669347491013</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Schick Razor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chick Hydro 5 Blade Sensitive 1 Handle + 5 Cartridges @14.97</c:v>
                </c:pt>
                <c:pt idx="1">
                  <c:v>Schick Hydro 5 Blade Sensitive 1 Handle + 8 Cartridges @19.97</c:v>
                </c:pt>
                <c:pt idx="2">
                  <c:v>Schick Hydro 5 Blade Chrome 1 Handle + 3 Cartridges + Docking Station/Stand + Travel Cover @19.97</c:v>
                </c:pt>
                <c:pt idx="3">
                  <c:v>Schick Hydro 5 Groomer 1 Handle + 1 Cartridge @14.97</c:v>
                </c:pt>
              </c:strCache>
            </c:strRef>
          </c:cat>
          <c:val>
            <c:numRef>
              <c:f>Sheet1!$D$2:$D$5</c:f>
              <c:numCache>
                <c:formatCode>General</c:formatCode>
                <c:ptCount val="4"/>
                <c:pt idx="0">
                  <c:v>174.424094196986</c:v>
                </c:pt>
                <c:pt idx="1">
                  <c:v>206.48649972282652</c:v>
                </c:pt>
                <c:pt idx="2">
                  <c:v>203.54176936809054</c:v>
                </c:pt>
                <c:pt idx="3">
                  <c:v>138.56192170541226</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Edgewell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Wilkinson Sword Classic Double Edge 1 Handle + 5 Cartridges @14.97</c:v>
                </c:pt>
              </c:strCache>
            </c:strRef>
          </c:cat>
          <c:val>
            <c:numRef>
              <c:f>Sheet1!$B$2:$B$2</c:f>
              <c:numCache>
                <c:formatCode>General</c:formatCode>
                <c:ptCount val="1"/>
                <c:pt idx="0">
                  <c:v>100.31910537047612</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Edgewell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Wilkinson Sword Classic Double Edge 1 Handle + 5 Cartridges @14.97</c:v>
                </c:pt>
              </c:strCache>
            </c:strRef>
          </c:cat>
          <c:val>
            <c:numRef>
              <c:f>Sheet1!$C$2:$C$2</c:f>
              <c:numCache>
                <c:formatCode>General</c:formatCode>
                <c:ptCount val="1"/>
                <c:pt idx="0">
                  <c:v>101.6711245874582</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Edgewell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Wilkinson Sword Classic Double Edge 1 Handle + 5 Cartridges @14.97</c:v>
                </c:pt>
              </c:strCache>
            </c:strRef>
          </c:cat>
          <c:val>
            <c:numRef>
              <c:f>Sheet1!$D$2:$D$2</c:f>
              <c:numCache>
                <c:formatCode>General</c:formatCode>
                <c:ptCount val="1"/>
                <c:pt idx="0">
                  <c:v>102.93711425100756</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Quattro Four Blade Refills 6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AEABAB"/>
              </a:solidFill>
            </c:spPr>
            <c:extLst>
              <c:ext xmlns:c16="http://schemas.microsoft.com/office/drawing/2014/chart" uri="{C3380CC4-5D6E-409C-BE32-E72D297353CC}">
                <c16:uniqueId val="{00000009-999B-42C0-A7D9-A2057CE05A51}"/>
              </c:ext>
            </c:extLst>
          </c:dPt>
          <c:dPt>
            <c:idx val="5"/>
            <c:invertIfNegative val="1"/>
            <c:bubble3D val="0"/>
            <c:spPr>
              <a:solidFill>
                <a:srgbClr val="AEABAB"/>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AEABAB"/>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extLst>
              <c:ext xmlns:c16="http://schemas.microsoft.com/office/drawing/2014/chart" uri="{C3380CC4-5D6E-409C-BE32-E72D297353CC}">
                <c16:uniqueId val="{0000001D-999B-42C0-A7D9-A2057CE05A51}"/>
              </c:ext>
            </c:extLst>
          </c:dPt>
          <c:dPt>
            <c:idx val="15"/>
            <c:invertIfNegative val="1"/>
            <c:bubble3D val="0"/>
            <c:spPr>
              <a:solidFill>
                <a:srgbClr val="7ECAC4"/>
              </a:solidFill>
            </c:spPr>
            <c:extLst>
              <c:ext xmlns:c16="http://schemas.microsoft.com/office/drawing/2014/chart" uri="{C3380CC4-5D6E-409C-BE32-E72D297353CC}">
                <c16:uniqueId val="{0000001F-999B-42C0-A7D9-A2057CE05A51}"/>
              </c:ext>
            </c:extLst>
          </c:dPt>
          <c:dPt>
            <c:idx val="16"/>
            <c:invertIfNegative val="1"/>
            <c:bubble3D val="0"/>
            <c:spPr>
              <a:solidFill>
                <a:srgbClr val="7ECAC4"/>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7ECAC4"/>
              </a:solidFill>
            </c:spPr>
            <c:extLst>
              <c:ext xmlns:c16="http://schemas.microsoft.com/office/drawing/2014/chart" uri="{C3380CC4-5D6E-409C-BE32-E72D297353CC}">
                <c16:uniqueId val="{0000002B-999B-42C0-A7D9-A2057CE05A51}"/>
              </c:ext>
            </c:extLst>
          </c:dPt>
          <c:dPt>
            <c:idx val="22"/>
            <c:invertIfNegative val="1"/>
            <c:bubble3D val="0"/>
            <c:spPr>
              <a:solidFill>
                <a:srgbClr val="7ECAC4"/>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7ECAC4"/>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7ECAC4"/>
              </a:solidFill>
            </c:spPr>
            <c:extLst>
              <c:ext xmlns:c16="http://schemas.microsoft.com/office/drawing/2014/chart" uri="{C3380CC4-5D6E-409C-BE32-E72D297353CC}">
                <c16:uniqueId val="{0000003D-999B-42C0-A7D9-A2057CE05A51}"/>
              </c:ext>
            </c:extLst>
          </c:dPt>
          <c:dPt>
            <c:idx val="31"/>
            <c:invertIfNegative val="1"/>
            <c:bubble3D val="0"/>
            <c:spPr>
              <a:solidFill>
                <a:srgbClr val="7ECAC4"/>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7ECAC4"/>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7ECAC4"/>
              </a:solidFill>
            </c:spPr>
            <c:extLst>
              <c:ext xmlns:c16="http://schemas.microsoft.com/office/drawing/2014/chart" uri="{C3380CC4-5D6E-409C-BE32-E72D297353CC}">
                <c16:uniqueId val="{00000055-999B-42C0-A7D9-A2057CE05A51}"/>
              </c:ext>
            </c:extLst>
          </c:dPt>
          <c:dPt>
            <c:idx val="43"/>
            <c:invertIfNegative val="1"/>
            <c:bubble3D val="0"/>
            <c:spPr>
              <a:solidFill>
                <a:srgbClr val="7ECAC4"/>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7ECAC4"/>
              </a:solidFill>
            </c:spPr>
            <c:extLst>
              <c:ext xmlns:c16="http://schemas.microsoft.com/office/drawing/2014/chart" uri="{C3380CC4-5D6E-409C-BE32-E72D297353CC}">
                <c16:uniqueId val="{0000005B-999B-42C0-A7D9-A2057CE05A51}"/>
              </c:ext>
            </c:extLst>
          </c:dPt>
          <c:dPt>
            <c:idx val="46"/>
            <c:invertIfNegative val="1"/>
            <c:bubble3D val="0"/>
            <c:spPr>
              <a:solidFill>
                <a:srgbClr val="AEABAB"/>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AEABAB"/>
              </a:solidFill>
            </c:spPr>
            <c:extLst>
              <c:ext xmlns:c16="http://schemas.microsoft.com/office/drawing/2014/chart" uri="{C3380CC4-5D6E-409C-BE32-E72D297353CC}">
                <c16:uniqueId val="{0000006B-999B-42C0-A7D9-A2057CE05A51}"/>
              </c:ext>
            </c:extLst>
          </c:dPt>
          <c:dPt>
            <c:idx val="54"/>
            <c:invertIfNegative val="1"/>
            <c:bubble3D val="0"/>
            <c:spPr>
              <a:solidFill>
                <a:srgbClr val="7ECAC4"/>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AEABAB"/>
              </a:solidFill>
            </c:spPr>
            <c:extLst>
              <c:ext xmlns:c16="http://schemas.microsoft.com/office/drawing/2014/chart" uri="{C3380CC4-5D6E-409C-BE32-E72D297353CC}">
                <c16:uniqueId val="{0000007D-999B-42C0-A7D9-A2057CE05A51}"/>
              </c:ext>
            </c:extLst>
          </c:dPt>
          <c:dPt>
            <c:idx val="63"/>
            <c:invertIfNegative val="1"/>
            <c:bubble3D val="0"/>
            <c:spPr>
              <a:solidFill>
                <a:srgbClr val="AEABAB"/>
              </a:solidFill>
            </c:spPr>
            <c:extLst>
              <c:ext xmlns:c16="http://schemas.microsoft.com/office/drawing/2014/chart" uri="{C3380CC4-5D6E-409C-BE32-E72D297353CC}">
                <c16:uniqueId val="{0000007F-999B-42C0-A7D9-A2057CE05A51}"/>
              </c:ext>
            </c:extLst>
          </c:dPt>
          <c:dPt>
            <c:idx val="64"/>
            <c:invertIfNegative val="1"/>
            <c:bubble3D val="0"/>
            <c:spPr>
              <a:solidFill>
                <a:srgbClr val="AEABAB"/>
              </a:solidFill>
            </c:spPr>
            <c:extLst>
              <c:ext xmlns:c16="http://schemas.microsoft.com/office/drawing/2014/chart" uri="{C3380CC4-5D6E-409C-BE32-E72D297353CC}">
                <c16:uniqueId val="{00000081-999B-42C0-A7D9-A2057CE05A51}"/>
              </c:ext>
            </c:extLst>
          </c:dPt>
          <c:dPt>
            <c:idx val="65"/>
            <c:invertIfNegative val="1"/>
            <c:bubble3D val="0"/>
            <c:spPr>
              <a:solidFill>
                <a:srgbClr val="006C6D"/>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AEABAB"/>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AEABAB"/>
              </a:solidFill>
            </c:spPr>
            <c:extLst>
              <c:ext xmlns:c16="http://schemas.microsoft.com/office/drawing/2014/chart" uri="{C3380CC4-5D6E-409C-BE32-E72D297353CC}">
                <c16:uniqueId val="{0000008D-999B-42C0-A7D9-A2057CE05A51}"/>
              </c:ext>
            </c:extLst>
          </c:dPt>
          <c:dPt>
            <c:idx val="71"/>
            <c:invertIfNegative val="1"/>
            <c:bubble3D val="0"/>
            <c:spPr>
              <a:solidFill>
                <a:srgbClr val="AEABAB"/>
              </a:solidFill>
            </c:spPr>
            <c:extLst>
              <c:ext xmlns:c16="http://schemas.microsoft.com/office/drawing/2014/chart" uri="{C3380CC4-5D6E-409C-BE32-E72D297353CC}">
                <c16:uniqueId val="{0000008F-999B-42C0-A7D9-A2057CE05A51}"/>
              </c:ext>
            </c:extLst>
          </c:dPt>
          <c:dPt>
            <c:idx val="72"/>
            <c:invertIfNegative val="1"/>
            <c:bubble3D val="0"/>
            <c:spPr>
              <a:solidFill>
                <a:srgbClr val="AEABAB"/>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AEABAB"/>
              </a:solidFill>
            </c:spPr>
            <c:extLst>
              <c:ext xmlns:c16="http://schemas.microsoft.com/office/drawing/2014/chart" uri="{C3380CC4-5D6E-409C-BE32-E72D297353CC}">
                <c16:uniqueId val="{00000095-999B-42C0-A7D9-A2057CE05A51}"/>
              </c:ext>
            </c:extLst>
          </c:dPt>
          <c:dPt>
            <c:idx val="75"/>
            <c:invertIfNegative val="1"/>
            <c:bubble3D val="0"/>
            <c:spPr>
              <a:solidFill>
                <a:srgbClr val="AEABAB"/>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AEABAB"/>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r>
                      <a:rPr sz="500">
                        <a:solidFill>
                          <a:srgbClr val="006C6D"/>
                        </a:solidFill>
                      </a:rPr>
                      <a:t>Schick Quattro Four Blade Refills 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Schick Hydro 3 Blade Ultra Sensitive 1 Handle + 4 Cartridges</c:v>
                </c:pt>
                <c:pt idx="46">
                  <c:v>Bic Flex 4 Sensitive Skin Disposable Razors 3 Pack</c:v>
                </c:pt>
                <c:pt idx="47">
                  <c:v>Gillette Fusion 5 1 Handle + 3 Cartridges Holiday Pack</c:v>
                </c:pt>
                <c:pt idx="48">
                  <c:v>Gillette Fusion 5 Proglide 1 Handle + 4 Cartridges</c:v>
                </c:pt>
                <c:pt idx="49">
                  <c:v>Gillette Sensor 3 Disposable Razors 8 Pack</c:v>
                </c:pt>
                <c:pt idx="50">
                  <c:v>Equate Caliber 3 Disposable Razors 3 Pack</c:v>
                </c:pt>
                <c:pt idx="51">
                  <c:v>Schick Hydro 5 Blade Sensitive Refills 12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Gillette Sensor 2 Plus Pivot Head Disposable Razors 21 Pack</c:v>
                </c:pt>
                <c:pt idx="59">
                  <c:v>Schick Xtreme 3 Sensitive Disposable Razors 12 Pack</c:v>
                </c:pt>
                <c:pt idx="60">
                  <c:v>Van Der Hagen Men Double Edge Blade 1 Handle + 5 Cartridges</c:v>
                </c:pt>
                <c:pt idx="61">
                  <c:v>Bic Flex 5 Disposable Razors 6 Pack Holiday Pack</c:v>
                </c:pt>
                <c:pt idx="62">
                  <c:v>Gillette Mach 3 Sensitive Skin Disposable Razors 6 Pack</c:v>
                </c:pt>
                <c:pt idx="63">
                  <c:v>Gillette Sensor 2 Pivot Head Disposable Razors 25 Pack</c:v>
                </c:pt>
                <c:pt idx="64">
                  <c:v>Gillette Mach 3 Blade Refills 15 Pack</c:v>
                </c:pt>
                <c:pt idx="65">
                  <c:v>Schick Quattro Four Blade Refills 6 Pack</c:v>
                </c:pt>
              </c:strCache>
            </c:strRef>
          </c:cat>
          <c:val>
            <c:numRef>
              <c:f>Sheet1!$B$2:$B$67</c:f>
              <c:numCache>
                <c:formatCode>General</c:formatCode>
                <c:ptCount val="66"/>
                <c:pt idx="0">
                  <c:v>0.20338278805366508</c:v>
                </c:pt>
                <c:pt idx="1">
                  <c:v>0.11381692950854114</c:v>
                </c:pt>
                <c:pt idx="2">
                  <c:v>0.10259223839987408</c:v>
                </c:pt>
                <c:pt idx="3">
                  <c:v>0.10239686271334472</c:v>
                </c:pt>
                <c:pt idx="4">
                  <c:v>0.08834720140787494</c:v>
                </c:pt>
                <c:pt idx="5">
                  <c:v>0.06632795182205667</c:v>
                </c:pt>
                <c:pt idx="6">
                  <c:v>0.05522089928608409</c:v>
                </c:pt>
                <c:pt idx="7">
                  <c:v>0.05410682515801501</c:v>
                </c:pt>
                <c:pt idx="8">
                  <c:v>0.05404968454093983</c:v>
                </c:pt>
                <c:pt idx="9">
                  <c:v>0.04861192192465668</c:v>
                </c:pt>
                <c:pt idx="10">
                  <c:v>0.04421882184929957</c:v>
                </c:pt>
                <c:pt idx="11">
                  <c:v>0.04360909677286708</c:v>
                </c:pt>
                <c:pt idx="12">
                  <c:v>0.03923978679044502</c:v>
                </c:pt>
                <c:pt idx="13">
                  <c:v>0.03798986816662777</c:v>
                </c:pt>
                <c:pt idx="14">
                  <c:v>0.035775570432438654</c:v>
                </c:pt>
                <c:pt idx="15">
                  <c:v>0.03509769192717191</c:v>
                </c:pt>
                <c:pt idx="16">
                  <c:v>0.030700706211196572</c:v>
                </c:pt>
                <c:pt idx="17">
                  <c:v>0.028839976732903665</c:v>
                </c:pt>
                <c:pt idx="18">
                  <c:v>0.028045478611536216</c:v>
                </c:pt>
                <c:pt idx="19">
                  <c:v>0.026814394569364068</c:v>
                </c:pt>
                <c:pt idx="20">
                  <c:v>0.026167380399026507</c:v>
                </c:pt>
                <c:pt idx="21">
                  <c:v>0.025999703513135138</c:v>
                </c:pt>
                <c:pt idx="22">
                  <c:v>0.025598372441058247</c:v>
                </c:pt>
                <c:pt idx="23">
                  <c:v>0.025278088494842126</c:v>
                </c:pt>
                <c:pt idx="24">
                  <c:v>0.023014339441218765</c:v>
                </c:pt>
                <c:pt idx="25">
                  <c:v>0.022008818223320754</c:v>
                </c:pt>
                <c:pt idx="26">
                  <c:v>0.021834403856540938</c:v>
                </c:pt>
                <c:pt idx="27">
                  <c:v>0.0214358748899545</c:v>
                </c:pt>
                <c:pt idx="28">
                  <c:v>0.021305767098765187</c:v>
                </c:pt>
                <c:pt idx="29">
                  <c:v>0.021091492331081787</c:v>
                </c:pt>
                <c:pt idx="30">
                  <c:v>0.02078031076375731</c:v>
                </c:pt>
                <c:pt idx="31">
                  <c:v>0.02050417965537951</c:v>
                </c:pt>
                <c:pt idx="32">
                  <c:v>0.020081240624723603</c:v>
                </c:pt>
                <c:pt idx="33">
                  <c:v>0.01919135750659751</c:v>
                </c:pt>
                <c:pt idx="34">
                  <c:v>0.01915402241671098</c:v>
                </c:pt>
                <c:pt idx="35">
                  <c:v>0.018931220009451896</c:v>
                </c:pt>
                <c:pt idx="36">
                  <c:v>0.018795964234193285</c:v>
                </c:pt>
                <c:pt idx="37">
                  <c:v>0.018448826554381324</c:v>
                </c:pt>
                <c:pt idx="38">
                  <c:v>0.018374788137555612</c:v>
                </c:pt>
                <c:pt idx="39">
                  <c:v>0.018171927296408423</c:v>
                </c:pt>
                <c:pt idx="40">
                  <c:v>0.017542382514232912</c:v>
                </c:pt>
                <c:pt idx="41">
                  <c:v>0.01693705902061385</c:v>
                </c:pt>
                <c:pt idx="42">
                  <c:v>0.016933462052213227</c:v>
                </c:pt>
                <c:pt idx="43">
                  <c:v>0.016431988377147523</c:v>
                </c:pt>
                <c:pt idx="44">
                  <c:v>0.01624914992756208</c:v>
                </c:pt>
                <c:pt idx="45">
                  <c:v>0.016099158274303787</c:v>
                </c:pt>
                <c:pt idx="46">
                  <c:v>0.016009198680041224</c:v>
                </c:pt>
                <c:pt idx="47">
                  <c:v>0.015953846925057868</c:v>
                </c:pt>
                <c:pt idx="48">
                  <c:v>0.015585404088455629</c:v>
                </c:pt>
                <c:pt idx="49">
                  <c:v>0.014180038753009466</c:v>
                </c:pt>
                <c:pt idx="50">
                  <c:v>0.01393646266717886</c:v>
                </c:pt>
                <c:pt idx="51">
                  <c:v>0.01364571754154585</c:v>
                </c:pt>
                <c:pt idx="52">
                  <c:v>0.01355013352485147</c:v>
                </c:pt>
                <c:pt idx="53">
                  <c:v>0.013233377405899936</c:v>
                </c:pt>
                <c:pt idx="54">
                  <c:v>0.012914570843093477</c:v>
                </c:pt>
                <c:pt idx="55">
                  <c:v>0.012721311033404207</c:v>
                </c:pt>
                <c:pt idx="56">
                  <c:v>0.012624816566346743</c:v>
                </c:pt>
                <c:pt idx="57">
                  <c:v>0.012073368025706039</c:v>
                </c:pt>
                <c:pt idx="58">
                  <c:v>0.010800361523770893</c:v>
                </c:pt>
                <c:pt idx="59">
                  <c:v>0.010294312021952669</c:v>
                </c:pt>
                <c:pt idx="60">
                  <c:v>0.009253060586314612</c:v>
                </c:pt>
                <c:pt idx="61">
                  <c:v>0.009088976336341406</c:v>
                </c:pt>
                <c:pt idx="62">
                  <c:v>0.009079620727151363</c:v>
                </c:pt>
                <c:pt idx="63">
                  <c:v>0.009028482379881204</c:v>
                </c:pt>
                <c:pt idx="64">
                  <c:v>0.008770130481122972</c:v>
                </c:pt>
                <c:pt idx="65">
                  <c:v>0.0017108369557946174</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Schick Hydro 3 Blade Pro Sensitive Refills 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Refills 6 Pack</c:v>
                </c:pt>
                <c:pt idx="1">
                  <c:v>Harry's Men Five Blade Refills 4 Pack</c:v>
                </c:pt>
                <c:pt idx="2">
                  <c:v>Gillette Mach 3 Blade Refills 4 Pack</c:v>
                </c:pt>
                <c:pt idx="3">
                  <c:v>Gillette Fusion 5 Proglide Blade Refills 4 Pack</c:v>
                </c:pt>
                <c:pt idx="4">
                  <c:v>Gillette Fusion 5 Blade Refills 4 Pack</c:v>
                </c:pt>
                <c:pt idx="5">
                  <c:v>Harry's Men Five Blade Refills 8 Pack</c:v>
                </c:pt>
                <c:pt idx="6">
                  <c:v>Equate Easy Fit 5 Blade Refills 4 Pack</c:v>
                </c:pt>
                <c:pt idx="7">
                  <c:v>Schick Hydro 3 Blade Ultra Sensitive Refills 5 Pack</c:v>
                </c:pt>
                <c:pt idx="8">
                  <c:v>Dollar Shave Club 6 Blades Blade Refills 4 Pack</c:v>
                </c:pt>
                <c:pt idx="9">
                  <c:v>Gillette Fusion 5 Proglide Blade Refills 8 Pack</c:v>
                </c:pt>
                <c:pt idx="10">
                  <c:v>Van Der Hagen Men Double Edge Blade Refills 10 Pack</c:v>
                </c:pt>
              </c:strCache>
            </c:strRef>
          </c:cat>
          <c:val>
            <c:numRef>
              <c:f>Sheet1!$B$2:$B$12</c:f>
              <c:numCache>
                <c:formatCode>General</c:formatCode>
                <c:ptCount val="11"/>
                <c:pt idx="0">
                  <c:v>0.3909627133189828</c:v>
                </c:pt>
                <c:pt idx="1">
                  <c:v>0.10624177484696291</c:v>
                </c:pt>
                <c:pt idx="2">
                  <c:v>0.0563200021972786</c:v>
                </c:pt>
                <c:pt idx="3">
                  <c:v>0.0499415044795977</c:v>
                </c:pt>
                <c:pt idx="4">
                  <c:v>0.047637484207696125</c:v>
                </c:pt>
                <c:pt idx="5">
                  <c:v>0.033943459021671445</c:v>
                </c:pt>
                <c:pt idx="6">
                  <c:v>0.02534002362762659</c:v>
                </c:pt>
                <c:pt idx="7">
                  <c:v>0.11041857843843475</c:v>
                </c:pt>
                <c:pt idx="8">
                  <c:v>0.02421440644720877</c:v>
                </c:pt>
                <c:pt idx="9">
                  <c:v>0.021068106324111234</c:v>
                </c:pt>
                <c:pt idx="10">
                  <c:v>0.020731598717248893</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Schick Hydro 5 Blade Sensitive Refills 4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Refills 6 Pack</c:v>
                </c:pt>
                <c:pt idx="1">
                  <c:v>Harry's Men Five Blade Refills 4 Pack</c:v>
                </c:pt>
                <c:pt idx="2">
                  <c:v>Gillette Mach 3 Blade Refills 4 Pack</c:v>
                </c:pt>
                <c:pt idx="3">
                  <c:v>Gillette Fusion 5 Proglide Blade Refills 4 Pack</c:v>
                </c:pt>
                <c:pt idx="4">
                  <c:v>Gillette Fusion 5 Blade Refills 4 Pack</c:v>
                </c:pt>
                <c:pt idx="5">
                  <c:v>Harry's Men Five Blade Refills 8 Pack</c:v>
                </c:pt>
                <c:pt idx="6">
                  <c:v>Equate Easy Fit 5 Blade Refills 4 Pack</c:v>
                </c:pt>
                <c:pt idx="7">
                  <c:v>Schick Hydro 3 Blade Ultra Sensitive Refills 5 Pack</c:v>
                </c:pt>
                <c:pt idx="8">
                  <c:v>Dollar Shave Club 6 Blades Blade Refills 4 Pack</c:v>
                </c:pt>
                <c:pt idx="9">
                  <c:v>Gillette Fusion 5 Proglide Blade Refills 8 Pack</c:v>
                </c:pt>
                <c:pt idx="10">
                  <c:v>Van Der Hagen Men Double Edge Blade Refills 10 Pack</c:v>
                </c:pt>
              </c:strCache>
            </c:strRef>
          </c:cat>
          <c:val>
            <c:numRef>
              <c:f>Sheet1!$B$2:$B$12</c:f>
              <c:numCache>
                <c:formatCode>General</c:formatCode>
                <c:ptCount val="11"/>
                <c:pt idx="0">
                  <c:v>0.26074224273967034</c:v>
                </c:pt>
                <c:pt idx="1">
                  <c:v>0.15423488283990114</c:v>
                </c:pt>
                <c:pt idx="2">
                  <c:v>0.08174802438495296</c:v>
                </c:pt>
                <c:pt idx="3">
                  <c:v>0.07250361605878375</c:v>
                </c:pt>
                <c:pt idx="4">
                  <c:v>0.06915441078566117</c:v>
                </c:pt>
                <c:pt idx="5">
                  <c:v>0.04927701251401532</c:v>
                </c:pt>
                <c:pt idx="6">
                  <c:v>0.03677886895255893</c:v>
                </c:pt>
                <c:pt idx="7">
                  <c:v>0.042142987860289784</c:v>
                </c:pt>
                <c:pt idx="8">
                  <c:v>0.03514208417766269</c:v>
                </c:pt>
                <c:pt idx="9">
                  <c:v>0.030586235050887485</c:v>
                </c:pt>
                <c:pt idx="10">
                  <c:v>0.030097028575248836</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Quattro Four Blade Refills 3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Refills 6 Pack</c:v>
                </c:pt>
                <c:pt idx="1">
                  <c:v>Harry's Men Five Blade Refills 4 Pack</c:v>
                </c:pt>
                <c:pt idx="2">
                  <c:v>Gillette Mach 3 Blade Refills 4 Pack</c:v>
                </c:pt>
                <c:pt idx="3">
                  <c:v>Gillette Fusion 5 Proglide Blade Refills 4 Pack</c:v>
                </c:pt>
                <c:pt idx="4">
                  <c:v>Gillette Fusion 5 Blade Refills 4 Pack</c:v>
                </c:pt>
                <c:pt idx="5">
                  <c:v>Harry's Men Five Blade Refills 8 Pack</c:v>
                </c:pt>
                <c:pt idx="6">
                  <c:v>Equate Easy Fit 5 Blade Refills 4 Pack</c:v>
                </c:pt>
                <c:pt idx="7">
                  <c:v>Schick Hydro 3 Blade Ultra Sensitive Refills 5 Pack</c:v>
                </c:pt>
                <c:pt idx="8">
                  <c:v>Dollar Shave Club 6 Blades Blade Refills 4 Pack</c:v>
                </c:pt>
                <c:pt idx="9">
                  <c:v>Gillette Fusion 5 Proglide Blade Refills 8 Pack</c:v>
                </c:pt>
                <c:pt idx="10">
                  <c:v>Van Der Hagen Men Double Edge Blade Refills 10 Pack</c:v>
                </c:pt>
              </c:strCache>
            </c:strRef>
          </c:cat>
          <c:val>
            <c:numRef>
              <c:f>Sheet1!$B$2:$B$12</c:f>
              <c:numCache>
                <c:formatCode>General</c:formatCode>
                <c:ptCount val="11"/>
                <c:pt idx="0">
                  <c:v>0.03412534289589347</c:v>
                </c:pt>
                <c:pt idx="1">
                  <c:v>0.21755355112083316</c:v>
                </c:pt>
                <c:pt idx="2">
                  <c:v>0.11529237130512432</c:v>
                </c:pt>
                <c:pt idx="3">
                  <c:v>0.10227091728632313</c:v>
                </c:pt>
                <c:pt idx="4">
                  <c:v>0.09754162934174854</c:v>
                </c:pt>
                <c:pt idx="5">
                  <c:v>0.06950703347231779</c:v>
                </c:pt>
                <c:pt idx="6">
                  <c:v>0.05186834569608356</c:v>
                </c:pt>
                <c:pt idx="7">
                  <c:v>0.0033418687275573724</c:v>
                </c:pt>
                <c:pt idx="8">
                  <c:v>0.04955646316019527</c:v>
                </c:pt>
                <c:pt idx="9">
                  <c:v>0.04314401484261413</c:v>
                </c:pt>
                <c:pt idx="10">
                  <c:v>0.04245316957767693</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Quattro Four Blade Refills 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Refills 6 Pack</c:v>
                </c:pt>
                <c:pt idx="1">
                  <c:v>Harry's Men Five Blade Refills 4 Pack</c:v>
                </c:pt>
                <c:pt idx="2">
                  <c:v>Gillette Mach 3 Blade Refills 4 Pack</c:v>
                </c:pt>
                <c:pt idx="3">
                  <c:v>Gillette Fusion 5 Proglide Blade Refills 4 Pack</c:v>
                </c:pt>
                <c:pt idx="4">
                  <c:v>Gillette Fusion 5 Blade Refills 4 Pack</c:v>
                </c:pt>
                <c:pt idx="5">
                  <c:v>Harry's Men Five Blade Refills 8 Pack</c:v>
                </c:pt>
                <c:pt idx="6">
                  <c:v>Equate Easy Fit 5 Blade Refills 4 Pack</c:v>
                </c:pt>
                <c:pt idx="7">
                  <c:v>Schick Hydro 3 Blade Ultra Sensitive Refills 5 Pack</c:v>
                </c:pt>
                <c:pt idx="8">
                  <c:v>Dollar Shave Club 6 Blades Blade Refills 4 Pack</c:v>
                </c:pt>
                <c:pt idx="9">
                  <c:v>Gillette Fusion 5 Proglide Blade Refills 8 Pack</c:v>
                </c:pt>
                <c:pt idx="10">
                  <c:v>Van Der Hagen Men Double Edge Blade Refills 10 Pack</c:v>
                </c:pt>
              </c:strCache>
            </c:strRef>
          </c:cat>
          <c:val>
            <c:numRef>
              <c:f>Sheet1!$B$2:$B$12</c:f>
              <c:numCache>
                <c:formatCode>General</c:formatCode>
                <c:ptCount val="11"/>
                <c:pt idx="0">
                  <c:v>0.034125342895891246</c:v>
                </c:pt>
                <c:pt idx="1">
                  <c:v>0.21755355112081473</c:v>
                </c:pt>
                <c:pt idx="2">
                  <c:v>0.11529237130512483</c:v>
                </c:pt>
                <c:pt idx="3">
                  <c:v>0.10227091728631645</c:v>
                </c:pt>
                <c:pt idx="4">
                  <c:v>0.09754162934174554</c:v>
                </c:pt>
                <c:pt idx="5">
                  <c:v>0.06950703347230483</c:v>
                </c:pt>
                <c:pt idx="6">
                  <c:v>0.05186834569608727</c:v>
                </c:pt>
                <c:pt idx="7">
                  <c:v>0.003341868727556824</c:v>
                </c:pt>
                <c:pt idx="8">
                  <c:v>0.049556463160196185</c:v>
                </c:pt>
                <c:pt idx="9">
                  <c:v>0.043144014842608595</c:v>
                </c:pt>
                <c:pt idx="10">
                  <c:v>0.04245316957767114</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Hydro 3 Blade Ingrown Defense Refills 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Refills 6 Pack</c:v>
                </c:pt>
                <c:pt idx="1">
                  <c:v>Harry's Men Five Blade Refills 4 Pack</c:v>
                </c:pt>
                <c:pt idx="2">
                  <c:v>Schick Hydro 5 Blade Sensitive Refills 12 Pack</c:v>
                </c:pt>
                <c:pt idx="3">
                  <c:v>Gillette Mach 3 Blade Refills 4 Pack</c:v>
                </c:pt>
                <c:pt idx="4">
                  <c:v>Schick Hydro 3 Blade Ultra Sensitive Refills 5 Pack</c:v>
                </c:pt>
                <c:pt idx="5">
                  <c:v>Gillette Fusion 5 Proglide Blade Refills 4 Pack</c:v>
                </c:pt>
                <c:pt idx="6">
                  <c:v>Gillette Fusion 5 Blade Refills 4 Pack</c:v>
                </c:pt>
                <c:pt idx="7">
                  <c:v>Harry's Men Five Blade Refills 8 Pack</c:v>
                </c:pt>
                <c:pt idx="8">
                  <c:v>Equate Easy Fit 5 Blade Refills 4 Pack</c:v>
                </c:pt>
                <c:pt idx="9">
                  <c:v>Dollar Shave Club 6 Blades Blade Refills 4 Pack</c:v>
                </c:pt>
                <c:pt idx="10">
                  <c:v>Gillette Fusion 5 Proglide Blade Refills 8 Pack</c:v>
                </c:pt>
              </c:strCache>
            </c:strRef>
          </c:cat>
          <c:val>
            <c:numRef>
              <c:f>Sheet1!$B$2:$B$12</c:f>
              <c:numCache>
                <c:formatCode>General</c:formatCode>
                <c:ptCount val="11"/>
                <c:pt idx="0">
                  <c:v>0.3243161584820191</c:v>
                </c:pt>
                <c:pt idx="1">
                  <c:v>0.12291467979774018</c:v>
                </c:pt>
                <c:pt idx="2">
                  <c:v>0.06082391183696553</c:v>
                </c:pt>
                <c:pt idx="3">
                  <c:v>0.06514546904904546</c:v>
                </c:pt>
                <c:pt idx="4">
                  <c:v>0.07697820768523778</c:v>
                </c:pt>
                <c:pt idx="5">
                  <c:v>0.05778071551454847</c:v>
                </c:pt>
                <c:pt idx="6">
                  <c:v>0.055110945963287146</c:v>
                </c:pt>
                <c:pt idx="7">
                  <c:v>0.03927043479125828</c:v>
                </c:pt>
                <c:pt idx="8">
                  <c:v>0.029308984894671646</c:v>
                </c:pt>
                <c:pt idx="9">
                  <c:v>0.02800416060380952</c:v>
                </c:pt>
                <c:pt idx="10">
                  <c:v>0.02437528792099213</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Hydro 5 Blade Advanced Hydration Refills 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Refills 6 Pack</c:v>
                </c:pt>
                <c:pt idx="1">
                  <c:v>Harry's Men Five Blade Refills 4 Pack</c:v>
                </c:pt>
                <c:pt idx="2">
                  <c:v>Schick Hydro 5 Blade Sensitive Refills 12 Pack</c:v>
                </c:pt>
                <c:pt idx="3">
                  <c:v>Gillette Mach 3 Blade Refills 4 Pack</c:v>
                </c:pt>
                <c:pt idx="4">
                  <c:v>Schick Hydro 3 Blade Ultra Sensitive Refills 5 Pack</c:v>
                </c:pt>
                <c:pt idx="5">
                  <c:v>Gillette Fusion 5 Proglide Blade Refills 4 Pack</c:v>
                </c:pt>
                <c:pt idx="6">
                  <c:v>Gillette Fusion 5 Blade Refills 4 Pack</c:v>
                </c:pt>
                <c:pt idx="7">
                  <c:v>Harry's Men Five Blade Refills 8 Pack</c:v>
                </c:pt>
                <c:pt idx="8">
                  <c:v>Equate Easy Fit 5 Blade Refills 4 Pack</c:v>
                </c:pt>
                <c:pt idx="9">
                  <c:v>Dollar Shave Club 6 Blades Blade Refills 4 Pack</c:v>
                </c:pt>
                <c:pt idx="10">
                  <c:v>Gillette Fusion 5 Proglide Blade Refills 8 Pack</c:v>
                </c:pt>
              </c:strCache>
            </c:strRef>
          </c:cat>
          <c:val>
            <c:numRef>
              <c:f>Sheet1!$B$2:$B$12</c:f>
              <c:numCache>
                <c:formatCode>General</c:formatCode>
                <c:ptCount val="11"/>
                <c:pt idx="0">
                  <c:v>0.4188099462948794</c:v>
                </c:pt>
                <c:pt idx="1">
                  <c:v>0.09342868078697626</c:v>
                </c:pt>
                <c:pt idx="2">
                  <c:v>0.1314242209258733</c:v>
                </c:pt>
                <c:pt idx="3">
                  <c:v>0.04951819059428695</c:v>
                </c:pt>
                <c:pt idx="4">
                  <c:v>0.040915096481926615</c:v>
                </c:pt>
                <c:pt idx="5">
                  <c:v>0.043919640161666565</c:v>
                </c:pt>
                <c:pt idx="6">
                  <c:v>0.04189047076081316</c:v>
                </c:pt>
                <c:pt idx="7">
                  <c:v>0.0298498475254784</c:v>
                </c:pt>
                <c:pt idx="8">
                  <c:v>0.02227833021355448</c:v>
                </c:pt>
                <c:pt idx="9">
                  <c:v>0.021286611727140525</c:v>
                </c:pt>
                <c:pt idx="10">
                  <c:v>0.018527869064069804</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Hydro 5 Blade Chrome Refills 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Refills 6 Pack</c:v>
                </c:pt>
                <c:pt idx="1">
                  <c:v>Harry's Men Five Blade Refills 4 Pack</c:v>
                </c:pt>
                <c:pt idx="2">
                  <c:v>Schick Hydro 5 Blade Sensitive Refills 12 Pack</c:v>
                </c:pt>
                <c:pt idx="3">
                  <c:v>Gillette Mach 3 Blade Refills 4 Pack</c:v>
                </c:pt>
                <c:pt idx="4">
                  <c:v>Schick Hydro 3 Blade Ultra Sensitive Refills 5 Pack</c:v>
                </c:pt>
                <c:pt idx="5">
                  <c:v>Gillette Fusion 5 Proglide Blade Refills 4 Pack</c:v>
                </c:pt>
                <c:pt idx="6">
                  <c:v>Gillette Fusion 5 Blade Refills 4 Pack</c:v>
                </c:pt>
                <c:pt idx="7">
                  <c:v>Harry's Men Five Blade Refills 8 Pack</c:v>
                </c:pt>
                <c:pt idx="8">
                  <c:v>Equate Easy Fit 5 Blade Refills 4 Pack</c:v>
                </c:pt>
                <c:pt idx="9">
                  <c:v>Dollar Shave Club 6 Blades Blade Refills 4 Pack</c:v>
                </c:pt>
                <c:pt idx="10">
                  <c:v>Gillette Fusion 5 Proglide Blade Refills 8 Pack</c:v>
                </c:pt>
              </c:strCache>
            </c:strRef>
          </c:cat>
          <c:val>
            <c:numRef>
              <c:f>Sheet1!$B$2:$B$12</c:f>
              <c:numCache>
                <c:formatCode>General</c:formatCode>
                <c:ptCount val="11"/>
                <c:pt idx="0">
                  <c:v>0.27409963390613945</c:v>
                </c:pt>
                <c:pt idx="1">
                  <c:v>0.1339598864664254</c:v>
                </c:pt>
                <c:pt idx="2">
                  <c:v>0.09147782688875351</c:v>
                </c:pt>
                <c:pt idx="3">
                  <c:v>0.07099706566222168</c:v>
                </c:pt>
                <c:pt idx="4">
                  <c:v>0.0482138721902613</c:v>
                </c:pt>
                <c:pt idx="5">
                  <c:v>0.06297325268813066</c:v>
                </c:pt>
                <c:pt idx="6">
                  <c:v>0.06006279961879246</c:v>
                </c:pt>
                <c:pt idx="7">
                  <c:v>0.042799325659459965</c:v>
                </c:pt>
                <c:pt idx="8">
                  <c:v>0.031941272690536225</c:v>
                </c:pt>
                <c:pt idx="9">
                  <c:v>0.030518719808687356</c:v>
                </c:pt>
                <c:pt idx="10">
                  <c:v>0.02656583489772849</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0.99725383032353521"/>
        </c:manualLayout>
      </c:layout>
      <c:barChart>
        <c:barDir val="bar"/>
        <c:grouping val="clustered"/>
        <c:varyColors val="0"/>
        <c:ser>
          <c:idx val="2"/>
          <c:order val="0"/>
          <c:tx>
            <c:strRef>
              <c:f>Sheet1!$B$1</c:f>
              <c:strCache>
                <c:ptCount val="1"/>
                <c:pt idx="0">
                  <c:v>Schick Xtreme 2 Sensitive Disposable Razors 24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Xtreme 3 Sensitive Disposable Razors 4 Pack</c:v>
                </c:pt>
                <c:pt idx="1">
                  <c:v>Schick Xtreme 2 Sensitive Disposable Razors 12 Pack</c:v>
                </c:pt>
                <c:pt idx="2">
                  <c:v>Schick Xtreme 3 Sensitive Disposable Razors 8 Pack</c:v>
                </c:pt>
                <c:pt idx="3">
                  <c:v>None Razors</c:v>
                </c:pt>
                <c:pt idx="4">
                  <c:v>Schick Xtreme 3 Sensitive Disposable Razors 12 Pack</c:v>
                </c:pt>
                <c:pt idx="5">
                  <c:v>Schick Hydro 5 Blade Sensitive 1 Handle + 3 Cartridges</c:v>
                </c:pt>
                <c:pt idx="6">
                  <c:v>Gillette Sensor 2 Pivot Head Disposable Razors 12 Pack</c:v>
                </c:pt>
                <c:pt idx="7">
                  <c:v>Gillette Sensor 3 Sensitive Disposable Razors 12 Pack</c:v>
                </c:pt>
                <c:pt idx="8">
                  <c:v>Equate 2 Blade Disposable Razors 12 Pack</c:v>
                </c:pt>
                <c:pt idx="9">
                  <c:v>Schick Hydro 5 Blade Sensitive Refills 6 Pack</c:v>
                </c:pt>
                <c:pt idx="10">
                  <c:v>Bic Men Sensitive Single Blade Disposable Razors 12 Pack</c:v>
                </c:pt>
              </c:strCache>
            </c:strRef>
          </c:cat>
          <c:val>
            <c:numRef>
              <c:f>Sheet1!$B$2:$B$12</c:f>
              <c:numCache>
                <c:formatCode>General</c:formatCode>
                <c:ptCount val="11"/>
                <c:pt idx="0">
                  <c:v>0.06737771073166066</c:v>
                </c:pt>
                <c:pt idx="1">
                  <c:v>0.1722586346613818</c:v>
                </c:pt>
                <c:pt idx="2">
                  <c:v>0.0442403881904322</c:v>
                </c:pt>
                <c:pt idx="3">
                  <c:v>0.038851679697275425</c:v>
                </c:pt>
                <c:pt idx="4">
                  <c:v>0.05259697460678646</c:v>
                </c:pt>
                <c:pt idx="5">
                  <c:v>0.016945705588172787</c:v>
                </c:pt>
                <c:pt idx="6">
                  <c:v>0.06045784146005771</c:v>
                </c:pt>
                <c:pt idx="7">
                  <c:v>0.03475065456934998</c:v>
                </c:pt>
                <c:pt idx="8">
                  <c:v>0.04745081919162989</c:v>
                </c:pt>
                <c:pt idx="9">
                  <c:v>0.012216909412903876</c:v>
                </c:pt>
                <c:pt idx="10">
                  <c:v>0.08710966110106866</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Xtreme 5 Sensitive Disposable Razors 4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Xtreme 3 Sensitive Disposable Razors 4 Pack</c:v>
                </c:pt>
                <c:pt idx="1">
                  <c:v>Schick Xtreme 2 Sensitive Disposable Razors 12 Pack</c:v>
                </c:pt>
                <c:pt idx="2">
                  <c:v>Schick Xtreme 3 Sensitive Disposable Razors 8 Pack</c:v>
                </c:pt>
                <c:pt idx="3">
                  <c:v>None Razors</c:v>
                </c:pt>
                <c:pt idx="4">
                  <c:v>Schick Xtreme 3 Sensitive Disposable Razors 12 Pack</c:v>
                </c:pt>
                <c:pt idx="5">
                  <c:v>Schick Hydro 5 Blade Sensitive 1 Handle + 3 Cartridges</c:v>
                </c:pt>
                <c:pt idx="6">
                  <c:v>Gillette Sensor 2 Pivot Head Disposable Razors 12 Pack</c:v>
                </c:pt>
                <c:pt idx="7">
                  <c:v>Gillette Sensor 3 Sensitive Disposable Razors 12 Pack</c:v>
                </c:pt>
                <c:pt idx="8">
                  <c:v>Equate 2 Blade Disposable Razors 12 Pack</c:v>
                </c:pt>
                <c:pt idx="9">
                  <c:v>Schick Hydro 5 Blade Sensitive Refills 6 Pack</c:v>
                </c:pt>
                <c:pt idx="10">
                  <c:v>Bic Men Sensitive Single Blade Disposable Razors 12 Pack</c:v>
                </c:pt>
              </c:strCache>
            </c:strRef>
          </c:cat>
          <c:val>
            <c:numRef>
              <c:f>Sheet1!$B$2:$B$12</c:f>
              <c:numCache>
                <c:formatCode>General</c:formatCode>
                <c:ptCount val="11"/>
                <c:pt idx="0">
                  <c:v>0.07966610624748655</c:v>
                </c:pt>
                <c:pt idx="1">
                  <c:v>0.04034654683024411</c:v>
                </c:pt>
                <c:pt idx="2">
                  <c:v>0.07793583463733533</c:v>
                </c:pt>
                <c:pt idx="3">
                  <c:v>0.06377754583680373</c:v>
                </c:pt>
                <c:pt idx="4">
                  <c:v>0.050560369446941804</c:v>
                </c:pt>
                <c:pt idx="5">
                  <c:v>0.04557183797290673</c:v>
                </c:pt>
                <c:pt idx="6">
                  <c:v>0.018031417279213195</c:v>
                </c:pt>
                <c:pt idx="7">
                  <c:v>0.03962075465129682</c:v>
                </c:pt>
                <c:pt idx="8">
                  <c:v>0.02212265201292601</c:v>
                </c:pt>
                <c:pt idx="9">
                  <c:v>0.03135501554454374</c:v>
                </c:pt>
                <c:pt idx="10">
                  <c:v>0.01525187285078364</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Xtreme 5 Sensitive Disposable Razors 8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Xtreme 3 Sensitive Disposable Razors 4 Pack</c:v>
                </c:pt>
                <c:pt idx="1">
                  <c:v>Schick Xtreme 2 Sensitive Disposable Razors 12 Pack</c:v>
                </c:pt>
                <c:pt idx="2">
                  <c:v>Schick Xtreme 3 Sensitive Disposable Razors 8 Pack</c:v>
                </c:pt>
                <c:pt idx="3">
                  <c:v>None Razors</c:v>
                </c:pt>
                <c:pt idx="4">
                  <c:v>Schick Xtreme 3 Sensitive Disposable Razors 12 Pack</c:v>
                </c:pt>
                <c:pt idx="5">
                  <c:v>Schick Hydro 5 Blade Sensitive 1 Handle + 3 Cartridges</c:v>
                </c:pt>
                <c:pt idx="6">
                  <c:v>Gillette Sensor 2 Pivot Head Disposable Razors 12 Pack</c:v>
                </c:pt>
                <c:pt idx="7">
                  <c:v>Gillette Sensor 3 Sensitive Disposable Razors 12 Pack</c:v>
                </c:pt>
                <c:pt idx="8">
                  <c:v>Equate 2 Blade Disposable Razors 12 Pack</c:v>
                </c:pt>
                <c:pt idx="9">
                  <c:v>Schick Hydro 5 Blade Sensitive Refills 6 Pack</c:v>
                </c:pt>
                <c:pt idx="10">
                  <c:v>Bic Men Sensitive Single Blade Disposable Razors 12 Pack</c:v>
                </c:pt>
              </c:strCache>
            </c:strRef>
          </c:cat>
          <c:val>
            <c:numRef>
              <c:f>Sheet1!$B$2:$B$12</c:f>
              <c:numCache>
                <c:formatCode>General</c:formatCode>
                <c:ptCount val="11"/>
                <c:pt idx="0">
                  <c:v>0.06689950556652409</c:v>
                </c:pt>
                <c:pt idx="1">
                  <c:v>0.046163167817073095</c:v>
                </c:pt>
                <c:pt idx="2">
                  <c:v>0.07798405964893883</c:v>
                </c:pt>
                <c:pt idx="3">
                  <c:v>0.05315672940991963</c:v>
                </c:pt>
                <c:pt idx="4">
                  <c:v>0.06780102149544473</c:v>
                </c:pt>
                <c:pt idx="5">
                  <c:v>0.03775797810882448</c:v>
                </c:pt>
                <c:pt idx="6">
                  <c:v>0.022688648983961533</c:v>
                </c:pt>
                <c:pt idx="7">
                  <c:v>0.04321298812684584</c:v>
                </c:pt>
                <c:pt idx="8">
                  <c:v>0.02678898561367396</c:v>
                </c:pt>
                <c:pt idx="9">
                  <c:v>0.018252278413549945</c:v>
                </c:pt>
                <c:pt idx="10">
                  <c:v>0.014349570885349562</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3 Blade Ingrown Defense Refills 6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spPr>
              <a:solidFill>
                <a:srgbClr val="7ECAC4"/>
              </a:solidFill>
            </c:spPr>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7ECAC4"/>
              </a:solidFill>
            </c:spPr>
            <c:extLst>
              <c:ext xmlns:c16="http://schemas.microsoft.com/office/drawing/2014/chart" uri="{C3380CC4-5D6E-409C-BE32-E72D297353CC}">
                <c16:uniqueId val="{00000023-7980-4C82-8C1C-32D5A7B4E44B}"/>
              </c:ext>
            </c:extLst>
          </c:dPt>
          <c:dPt>
            <c:idx val="23"/>
            <c:invertIfNegative val="1"/>
            <c:bubble3D val="0"/>
            <c:spPr>
              <a:solidFill>
                <a:srgbClr val="AEABAB"/>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7ECAC4"/>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7ECAC4"/>
              </a:solidFill>
            </c:spPr>
            <c:extLst>
              <c:ext xmlns:c16="http://schemas.microsoft.com/office/drawing/2014/chart" uri="{C3380CC4-5D6E-409C-BE32-E72D297353CC}">
                <c16:uniqueId val="{0000002A-7980-4C82-8C1C-32D5A7B4E44B}"/>
              </c:ext>
            </c:extLst>
          </c:dPt>
          <c:dPt>
            <c:idx val="31"/>
            <c:invertIfNegative val="1"/>
            <c:bubble3D val="0"/>
            <c:spPr>
              <a:solidFill>
                <a:srgbClr val="7ECAC4"/>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7ECAC4"/>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006C6D"/>
              </a:solidFill>
            </c:spPr>
            <c:extLst>
              <c:ext xmlns:c16="http://schemas.microsoft.com/office/drawing/2014/chart" uri="{C3380CC4-5D6E-409C-BE32-E72D297353CC}">
                <c16:uniqueId val="{00000039-7980-4C82-8C1C-32D5A7B4E44B}"/>
              </c:ext>
            </c:extLst>
          </c:dPt>
          <c:dPt>
            <c:idx val="50"/>
            <c:invertIfNegative val="0"/>
            <c:bubble3D val="0"/>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AEABAB"/>
              </a:solidFill>
            </c:spPr>
            <c:extLst>
              <c:ext xmlns:c16="http://schemas.microsoft.com/office/drawing/2014/chart" uri="{C3380CC4-5D6E-409C-BE32-E72D297353CC}">
                <c16:uniqueId val="{0000006B-77EF-42ED-BAFF-03BF265C16B5}"/>
              </c:ext>
            </c:extLst>
          </c:dPt>
          <c:dPt>
            <c:idx val="54"/>
            <c:invertIfNegative val="1"/>
            <c:bubble3D val="0"/>
            <c:spPr>
              <a:solidFill>
                <a:srgbClr val="7ECAC4"/>
              </a:solidFill>
            </c:spPr>
            <c:extLst>
              <c:ext xmlns:c16="http://schemas.microsoft.com/office/drawing/2014/chart" uri="{C3380CC4-5D6E-409C-BE32-E72D297353CC}">
                <c16:uniqueId val="{0000006D-77EF-42ED-BAFF-03BF265C16B5}"/>
              </c:ext>
            </c:extLst>
          </c:dPt>
          <c:dPt>
            <c:idx val="55"/>
            <c:invertIfNegative val="1"/>
            <c:bubble3D val="0"/>
            <c:spPr>
              <a:solidFill>
                <a:srgbClr val="7ECAC4"/>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r>
                      <a:rPr sz="500">
                        <a:solidFill>
                          <a:srgbClr val="006C6D"/>
                        </a:solidFill>
                      </a:rPr>
                      <a:t>Schick Hydro 3 Blade Ingrown Defense Refills 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Harry's Men Five Blade Refills 12 Pack</c:v>
                </c:pt>
                <c:pt idx="17">
                  <c:v>Schick Hydro 5 Blade Sensitive Refills 6 Pack</c:v>
                </c:pt>
                <c:pt idx="18">
                  <c:v>Gillette Fusion 5 Blade Refills 12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Schick Hydro 5 Blade Sensitive 1 Handle + 3 Cartridges</c:v>
                </c:pt>
                <c:pt idx="43">
                  <c:v>Schick Xtreme 3 Sensitive Disposable Razors 8 Pack</c:v>
                </c:pt>
                <c:pt idx="44">
                  <c:v>Gillette Sensor 3 Sensitive Disposable Razors 12 Pack</c:v>
                </c:pt>
                <c:pt idx="45">
                  <c:v>Schick Hydro 3 Blade Ultra Sensitive 1 Handle + 4 Cartridges</c:v>
                </c:pt>
                <c:pt idx="46">
                  <c:v>Bic Flex 4 Sensitive Skin Disposable Razors 3 Pack</c:v>
                </c:pt>
                <c:pt idx="47">
                  <c:v>Gillette Fusion 5 1 Handle + 3 Cartridges Holiday Pack</c:v>
                </c:pt>
                <c:pt idx="48">
                  <c:v>Gillette Fusion 5 Proglide 1 Handle + 4 Cartridges</c:v>
                </c:pt>
                <c:pt idx="49">
                  <c:v>Schick Hydro 3 Blade Ingrown Defense Refills 6 Pack</c:v>
                </c:pt>
                <c:pt idx="50">
                  <c:v>Gillette Sensor 3 Disposable Razors 8 Pack</c:v>
                </c:pt>
                <c:pt idx="51">
                  <c:v>Equate Caliber 3 Disposable Razors 3 Pack</c:v>
                </c:pt>
                <c:pt idx="52">
                  <c:v>Equate Easy Fit 5 Blade Refills 12 Pack</c:v>
                </c:pt>
                <c:pt idx="53">
                  <c:v>Bic Men Sensitive Twin Blade Disposable Razors 10 Pack</c:v>
                </c:pt>
                <c:pt idx="54">
                  <c:v>Equate Easy Fit 5 blades 1 Handle + 2 Cartridges</c:v>
                </c:pt>
                <c:pt idx="55">
                  <c:v>Schick Hydro 5 Blade Sensitive Refills 12 Pack</c:v>
                </c:pt>
                <c:pt idx="56">
                  <c:v>Bic Flex 5 Disposable Razors 4 Pack</c:v>
                </c:pt>
                <c:pt idx="57">
                  <c:v>Bic Comfort 3 Sensitive Skin Disposable Razors 8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20244459944010226</c:v>
                </c:pt>
                <c:pt idx="1">
                  <c:v>0.11381663495014804</c:v>
                </c:pt>
                <c:pt idx="2">
                  <c:v>0.1021189801237446</c:v>
                </c:pt>
                <c:pt idx="3">
                  <c:v>0.10192441555005888</c:v>
                </c:pt>
                <c:pt idx="4">
                  <c:v>0.0879396794482224</c:v>
                </c:pt>
                <c:pt idx="5">
                  <c:v>0.06602199298638979</c:v>
                </c:pt>
                <c:pt idx="6">
                  <c:v>0.05522081327898196</c:v>
                </c:pt>
                <c:pt idx="7">
                  <c:v>0.0541067264013628</c:v>
                </c:pt>
                <c:pt idx="8">
                  <c:v>0.05404963766074398</c:v>
                </c:pt>
                <c:pt idx="9">
                  <c:v>0.04838761743304941</c:v>
                </c:pt>
                <c:pt idx="10">
                  <c:v>0.04401474702826243</c:v>
                </c:pt>
                <c:pt idx="11">
                  <c:v>0.04340793507443046</c:v>
                </c:pt>
                <c:pt idx="12">
                  <c:v>0.03905878460464764</c:v>
                </c:pt>
                <c:pt idx="13">
                  <c:v>0.037989831866733166</c:v>
                </c:pt>
                <c:pt idx="14">
                  <c:v>0.03561048780126184</c:v>
                </c:pt>
                <c:pt idx="15">
                  <c:v>0.02994596543396456</c:v>
                </c:pt>
                <c:pt idx="16">
                  <c:v>0.028706947935979575</c:v>
                </c:pt>
                <c:pt idx="17">
                  <c:v>0.028330646332422712</c:v>
                </c:pt>
                <c:pt idx="18">
                  <c:v>0.027916115670817056</c:v>
                </c:pt>
                <c:pt idx="19">
                  <c:v>0.02669071225137847</c:v>
                </c:pt>
                <c:pt idx="20">
                  <c:v>0.026167337157207923</c:v>
                </c:pt>
                <c:pt idx="21">
                  <c:v>0.025999449197428564</c:v>
                </c:pt>
                <c:pt idx="22">
                  <c:v>0.025598218189012815</c:v>
                </c:pt>
                <c:pt idx="23">
                  <c:v>0.025277974319052147</c:v>
                </c:pt>
                <c:pt idx="24">
                  <c:v>0.02301430722910624</c:v>
                </c:pt>
                <c:pt idx="25">
                  <c:v>0.022008725598947957</c:v>
                </c:pt>
                <c:pt idx="26">
                  <c:v>0.021834246491229347</c:v>
                </c:pt>
                <c:pt idx="27">
                  <c:v>0.021435765681856737</c:v>
                </c:pt>
                <c:pt idx="28">
                  <c:v>0.021305705104549117</c:v>
                </c:pt>
                <c:pt idx="29">
                  <c:v>0.02109143639453009</c:v>
                </c:pt>
                <c:pt idx="30">
                  <c:v>0.02068443224956731</c:v>
                </c:pt>
                <c:pt idx="31">
                  <c:v>0.020504100339821824</c:v>
                </c:pt>
                <c:pt idx="32">
                  <c:v>0.020081164936095717</c:v>
                </c:pt>
                <c:pt idx="33">
                  <c:v>0.019191273114390204</c:v>
                </c:pt>
                <c:pt idx="34">
                  <c:v>0.01915397665240991</c:v>
                </c:pt>
                <c:pt idx="35">
                  <c:v>0.01893115662884472</c:v>
                </c:pt>
                <c:pt idx="36">
                  <c:v>0.01879590070081606</c:v>
                </c:pt>
                <c:pt idx="37">
                  <c:v>0.018448808129623875</c:v>
                </c:pt>
                <c:pt idx="38">
                  <c:v>0.01837474256292101</c:v>
                </c:pt>
                <c:pt idx="39">
                  <c:v>0.018171914130113622</c:v>
                </c:pt>
                <c:pt idx="40">
                  <c:v>0.01746142772513407</c:v>
                </c:pt>
                <c:pt idx="41">
                  <c:v>0.016937016179665105</c:v>
                </c:pt>
                <c:pt idx="42">
                  <c:v>0.016934958876711093</c:v>
                </c:pt>
                <c:pt idx="43">
                  <c:v>0.01643182331570826</c:v>
                </c:pt>
                <c:pt idx="44">
                  <c:v>0.016249116270479168</c:v>
                </c:pt>
                <c:pt idx="45">
                  <c:v>0.016100757012307256</c:v>
                </c:pt>
                <c:pt idx="46">
                  <c:v>0.016009081767943887</c:v>
                </c:pt>
                <c:pt idx="47">
                  <c:v>0.015953816774930494</c:v>
                </c:pt>
                <c:pt idx="48">
                  <c:v>0.015585382729489713</c:v>
                </c:pt>
                <c:pt idx="49">
                  <c:v>0.014343277404634331</c:v>
                </c:pt>
                <c:pt idx="50">
                  <c:v>0.01418000128197821</c:v>
                </c:pt>
                <c:pt idx="51">
                  <c:v>0.013936408626723054</c:v>
                </c:pt>
                <c:pt idx="52">
                  <c:v>0.013487619236540354</c:v>
                </c:pt>
                <c:pt idx="53">
                  <c:v>0.013233352535758544</c:v>
                </c:pt>
                <c:pt idx="54">
                  <c:v>0.01291449890428844</c:v>
                </c:pt>
                <c:pt idx="55">
                  <c:v>0.012773950985812335</c:v>
                </c:pt>
                <c:pt idx="56">
                  <c:v>0.012721252266037538</c:v>
                </c:pt>
                <c:pt idx="57">
                  <c:v>0.012624780809271477</c:v>
                </c:pt>
                <c:pt idx="58">
                  <c:v>0.012073308119894682</c:v>
                </c:pt>
                <c:pt idx="59">
                  <c:v>0.01080033109509272</c:v>
                </c:pt>
                <c:pt idx="60">
                  <c:v>0.010294250113879456</c:v>
                </c:pt>
                <c:pt idx="61">
                  <c:v>0.009253043009002782</c:v>
                </c:pt>
                <c:pt idx="62">
                  <c:v>0.009088925219447229</c:v>
                </c:pt>
                <c:pt idx="63">
                  <c:v>0.00907959225660859</c:v>
                </c:pt>
                <c:pt idx="64">
                  <c:v>0.009028456118854774</c:v>
                </c:pt>
                <c:pt idx="65">
                  <c:v>0.008729665283579637</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Xtreme 3 Body &amp; Groin Disposable Razors 3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Xtreme 3 Sensitive Disposable Razors 4 Pack</c:v>
                </c:pt>
                <c:pt idx="1">
                  <c:v>Schick Xtreme 2 Sensitive Disposable Razors 12 Pack</c:v>
                </c:pt>
                <c:pt idx="2">
                  <c:v>Schick Xtreme 3 Sensitive Disposable Razors 8 Pack</c:v>
                </c:pt>
                <c:pt idx="3">
                  <c:v>None Razors</c:v>
                </c:pt>
                <c:pt idx="4">
                  <c:v>Schick Xtreme 3 Sensitive Disposable Razors 12 Pack</c:v>
                </c:pt>
                <c:pt idx="5">
                  <c:v>Schick Hydro 5 Blade Sensitive 1 Handle + 3 Cartridges</c:v>
                </c:pt>
                <c:pt idx="6">
                  <c:v>Gillette Sensor 2 Pivot Head Disposable Razors 12 Pack</c:v>
                </c:pt>
                <c:pt idx="7">
                  <c:v>Gillette Sensor 3 Sensitive Disposable Razors 12 Pack</c:v>
                </c:pt>
                <c:pt idx="8">
                  <c:v>Equate 2 Blade Disposable Razors 12 Pack</c:v>
                </c:pt>
                <c:pt idx="9">
                  <c:v>Schick Hydro 5 Blade Sensitive Refills 6 Pack</c:v>
                </c:pt>
                <c:pt idx="10">
                  <c:v>Bic Men Sensitive Single Blade Disposable Razors 12 Pack</c:v>
                </c:pt>
              </c:strCache>
            </c:strRef>
          </c:cat>
          <c:val>
            <c:numRef>
              <c:f>Sheet1!$B$2:$B$12</c:f>
              <c:numCache>
                <c:formatCode>General</c:formatCode>
                <c:ptCount val="11"/>
                <c:pt idx="0">
                  <c:v>0.09859720492721402</c:v>
                </c:pt>
                <c:pt idx="1">
                  <c:v>0.055123768497541185</c:v>
                </c:pt>
                <c:pt idx="2">
                  <c:v>0.0696349702858706</c:v>
                </c:pt>
                <c:pt idx="3">
                  <c:v>0.0487604564704558</c:v>
                </c:pt>
                <c:pt idx="4">
                  <c:v>0.024633542350631137</c:v>
                </c:pt>
                <c:pt idx="5">
                  <c:v>0.04909756413335132</c:v>
                </c:pt>
                <c:pt idx="6">
                  <c:v>0.027997429931593584</c:v>
                </c:pt>
                <c:pt idx="7">
                  <c:v>0.021992934043097597</c:v>
                </c:pt>
                <c:pt idx="8">
                  <c:v>0.02889543270432356</c:v>
                </c:pt>
                <c:pt idx="9">
                  <c:v>0.036371193185529345</c:v>
                </c:pt>
                <c:pt idx="10">
                  <c:v>0.01876917317515033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559397831728E-2"/>
          <c:y val="0"/>
          <c:w val="0.96518562554386689"/>
          <c:h val="1"/>
        </c:manualLayout>
      </c:layout>
      <c:barChart>
        <c:barDir val="bar"/>
        <c:grouping val="clustered"/>
        <c:varyColors val="0"/>
        <c:ser>
          <c:idx val="2"/>
          <c:order val="0"/>
          <c:tx>
            <c:strRef>
              <c:f>Sheet1!$B$1</c:f>
              <c:strCache>
                <c:ptCount val="1"/>
                <c:pt idx="0">
                  <c:v>Schick Hydro 5 Ultimate Comfort Disposable Razors 3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000A-4C45-A43A-3AA69B6FEE6F}"/>
              </c:ext>
            </c:extLst>
          </c:dPt>
          <c:dPt>
            <c:idx val="1"/>
            <c:invertIfNegative val="1"/>
            <c:bubble3D val="0"/>
            <c:spPr>
              <a:solidFill>
                <a:srgbClr val="AEABAB"/>
              </a:solidFill>
            </c:spPr>
            <c:extLst>
              <c:ext xmlns:c16="http://schemas.microsoft.com/office/drawing/2014/chart" uri="{C3380CC4-5D6E-409C-BE32-E72D297353CC}">
                <c16:uniqueId val="{00000003-000A-4C45-A43A-3AA69B6FEE6F}"/>
              </c:ext>
            </c:extLst>
          </c:dPt>
          <c:dPt>
            <c:idx val="2"/>
            <c:invertIfNegative val="1"/>
            <c:bubble3D val="0"/>
            <c:spPr>
              <a:solidFill>
                <a:srgbClr val="AEABAB"/>
              </a:solidFill>
            </c:spPr>
            <c:extLst>
              <c:ext xmlns:c16="http://schemas.microsoft.com/office/drawing/2014/chart" uri="{C3380CC4-5D6E-409C-BE32-E72D297353CC}">
                <c16:uniqueId val="{00000005-000A-4C45-A43A-3AA69B6FEE6F}"/>
              </c:ext>
            </c:extLst>
          </c:dPt>
          <c:dPt>
            <c:idx val="3"/>
            <c:invertIfNegative val="1"/>
            <c:bubble3D val="0"/>
            <c:spPr>
              <a:solidFill>
                <a:srgbClr val="AEABAB"/>
              </a:solidFill>
            </c:spPr>
            <c:extLst>
              <c:ext xmlns:c16="http://schemas.microsoft.com/office/drawing/2014/chart" uri="{C3380CC4-5D6E-409C-BE32-E72D297353CC}">
                <c16:uniqueId val="{00000007-000A-4C45-A43A-3AA69B6FEE6F}"/>
              </c:ext>
            </c:extLst>
          </c:dPt>
          <c:dPt>
            <c:idx val="4"/>
            <c:invertIfNegative val="1"/>
            <c:bubble3D val="0"/>
            <c:spPr>
              <a:solidFill>
                <a:srgbClr val="AEABAB"/>
              </a:solidFill>
            </c:spPr>
            <c:extLst>
              <c:ext xmlns:c16="http://schemas.microsoft.com/office/drawing/2014/chart" uri="{C3380CC4-5D6E-409C-BE32-E72D297353CC}">
                <c16:uniqueId val="{00000009-000A-4C45-A43A-3AA69B6FEE6F}"/>
              </c:ext>
            </c:extLst>
          </c:dPt>
          <c:dPt>
            <c:idx val="5"/>
            <c:invertIfNegative val="1"/>
            <c:bubble3D val="0"/>
            <c:spPr>
              <a:solidFill>
                <a:srgbClr val="AEABAB"/>
              </a:solidFill>
            </c:spPr>
            <c:extLst>
              <c:ext xmlns:c16="http://schemas.microsoft.com/office/drawing/2014/chart" uri="{C3380CC4-5D6E-409C-BE32-E72D297353CC}">
                <c16:uniqueId val="{0000000B-000A-4C45-A43A-3AA69B6FEE6F}"/>
              </c:ext>
            </c:extLst>
          </c:dPt>
          <c:dPt>
            <c:idx val="6"/>
            <c:invertIfNegative val="1"/>
            <c:bubble3D val="0"/>
            <c:spPr>
              <a:solidFill>
                <a:srgbClr val="AEABAB"/>
              </a:solidFill>
            </c:spPr>
            <c:extLst>
              <c:ext xmlns:c16="http://schemas.microsoft.com/office/drawing/2014/chart" uri="{C3380CC4-5D6E-409C-BE32-E72D297353CC}">
                <c16:uniqueId val="{0000000D-000A-4C45-A43A-3AA69B6FEE6F}"/>
              </c:ext>
            </c:extLst>
          </c:dPt>
          <c:dPt>
            <c:idx val="7"/>
            <c:invertIfNegative val="1"/>
            <c:bubble3D val="0"/>
            <c:spPr>
              <a:solidFill>
                <a:srgbClr val="AEABAB"/>
              </a:solidFill>
            </c:spPr>
            <c:extLst>
              <c:ext xmlns:c16="http://schemas.microsoft.com/office/drawing/2014/chart" uri="{C3380CC4-5D6E-409C-BE32-E72D297353CC}">
                <c16:uniqueId val="{0000000F-000A-4C45-A43A-3AA69B6FEE6F}"/>
              </c:ext>
            </c:extLst>
          </c:dPt>
          <c:dPt>
            <c:idx val="8"/>
            <c:invertIfNegative val="1"/>
            <c:bubble3D val="0"/>
            <c:spPr>
              <a:solidFill>
                <a:srgbClr val="AEABAB"/>
              </a:solidFill>
            </c:spPr>
            <c:extLst>
              <c:ext xmlns:c16="http://schemas.microsoft.com/office/drawing/2014/chart" uri="{C3380CC4-5D6E-409C-BE32-E72D297353CC}">
                <c16:uniqueId val="{00000011-000A-4C45-A43A-3AA69B6FEE6F}"/>
              </c:ext>
            </c:extLst>
          </c:dPt>
          <c:dPt>
            <c:idx val="9"/>
            <c:invertIfNegative val="1"/>
            <c:bubble3D val="0"/>
            <c:spPr>
              <a:solidFill>
                <a:srgbClr val="AEABAB"/>
              </a:solidFill>
            </c:spPr>
            <c:extLst>
              <c:ext xmlns:c16="http://schemas.microsoft.com/office/drawing/2014/chart" uri="{C3380CC4-5D6E-409C-BE32-E72D297353CC}">
                <c16:uniqueId val="{00000013-000A-4C45-A43A-3AA69B6FEE6F}"/>
              </c:ext>
            </c:extLst>
          </c:dPt>
          <c:dPt>
            <c:idx val="10"/>
            <c:invertIfNegative val="1"/>
            <c:bubble3D val="0"/>
            <c:spPr>
              <a:solidFill>
                <a:srgbClr val="AEABAB"/>
              </a:solidFill>
            </c:spPr>
            <c:extLst>
              <c:ext xmlns:c16="http://schemas.microsoft.com/office/drawing/2014/chart" uri="{C3380CC4-5D6E-409C-BE32-E72D297353CC}">
                <c16:uniqueId val="{00000015-000A-4C45-A43A-3AA69B6FEE6F}"/>
              </c:ext>
            </c:extLst>
          </c:dPt>
          <c:dPt>
            <c:idx val="11"/>
            <c:invertIfNegative val="1"/>
            <c:bubble3D val="0"/>
            <c:spPr>
              <a:solidFill>
                <a:srgbClr val="AEABAB"/>
              </a:solidFill>
            </c:spPr>
            <c:extLst>
              <c:ext xmlns:c16="http://schemas.microsoft.com/office/drawing/2014/chart" uri="{C3380CC4-5D6E-409C-BE32-E72D297353CC}">
                <c16:uniqueId val="{00000017-000A-4C45-A43A-3AA69B6FEE6F}"/>
              </c:ext>
            </c:extLst>
          </c:dPt>
          <c:dPt>
            <c:idx val="12"/>
            <c:invertIfNegative val="1"/>
            <c:bubble3D val="0"/>
            <c:spPr>
              <a:solidFill>
                <a:srgbClr val="AEABAB"/>
              </a:solidFill>
            </c:spPr>
            <c:extLst>
              <c:ext xmlns:c16="http://schemas.microsoft.com/office/drawing/2014/chart" uri="{C3380CC4-5D6E-409C-BE32-E72D297353CC}">
                <c16:uniqueId val="{00000019-000A-4C45-A43A-3AA69B6FEE6F}"/>
              </c:ext>
            </c:extLst>
          </c:dPt>
          <c:dPt>
            <c:idx val="13"/>
            <c:invertIfNegative val="1"/>
            <c:bubble3D val="0"/>
            <c:spPr>
              <a:solidFill>
                <a:srgbClr val="AEABAB"/>
              </a:solidFill>
            </c:spPr>
            <c:extLst>
              <c:ext xmlns:c16="http://schemas.microsoft.com/office/drawing/2014/chart" uri="{C3380CC4-5D6E-409C-BE32-E72D297353CC}">
                <c16:uniqueId val="{0000001B-000A-4C45-A43A-3AA69B6FEE6F}"/>
              </c:ext>
            </c:extLst>
          </c:dPt>
          <c:dPt>
            <c:idx val="14"/>
            <c:invertIfNegative val="1"/>
            <c:bubble3D val="0"/>
            <c:spPr>
              <a:solidFill>
                <a:srgbClr val="AEABAB"/>
              </a:solidFill>
            </c:spPr>
            <c:extLst>
              <c:ext xmlns:c16="http://schemas.microsoft.com/office/drawing/2014/chart" uri="{C3380CC4-5D6E-409C-BE32-E72D297353CC}">
                <c16:uniqueId val="{0000001D-000A-4C45-A43A-3AA69B6FEE6F}"/>
              </c:ext>
            </c:extLst>
          </c:dPt>
          <c:dPt>
            <c:idx val="15"/>
            <c:invertIfNegative val="1"/>
            <c:bubble3D val="0"/>
            <c:spPr>
              <a:solidFill>
                <a:srgbClr val="AEABAB"/>
              </a:solidFill>
            </c:spPr>
            <c:extLst>
              <c:ext xmlns:c16="http://schemas.microsoft.com/office/drawing/2014/chart" uri="{C3380CC4-5D6E-409C-BE32-E72D297353CC}">
                <c16:uniqueId val="{0000001F-000A-4C45-A43A-3AA69B6FEE6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Xtreme 3 Sensitive Disposable Razors 4 Pack</c:v>
                </c:pt>
                <c:pt idx="1">
                  <c:v>Schick Xtreme 2 Sensitive Disposable Razors 12 Pack</c:v>
                </c:pt>
                <c:pt idx="2">
                  <c:v>Schick Xtreme 3 Sensitive Disposable Razors 8 Pack</c:v>
                </c:pt>
                <c:pt idx="3">
                  <c:v>None Razors</c:v>
                </c:pt>
                <c:pt idx="4">
                  <c:v>Schick Xtreme 3 Sensitive Disposable Razors 12 Pack</c:v>
                </c:pt>
                <c:pt idx="5">
                  <c:v>Schick Hydro 5 Blade Sensitive 1 Handle + 3 Cartridges</c:v>
                </c:pt>
                <c:pt idx="6">
                  <c:v>Gillette Sensor 2 Pivot Head Disposable Razors 12 Pack</c:v>
                </c:pt>
                <c:pt idx="7">
                  <c:v>Gillette Sensor 3 Sensitive Disposable Razors 12 Pack</c:v>
                </c:pt>
                <c:pt idx="8">
                  <c:v>Equate 2 Blade Disposable Razors 12 Pack</c:v>
                </c:pt>
                <c:pt idx="9">
                  <c:v>Schick Hydro 5 Blade Sensitive Refills 6 Pack</c:v>
                </c:pt>
                <c:pt idx="10">
                  <c:v>Bic Men Sensitive Single Blade Disposable Razors 12 Pack</c:v>
                </c:pt>
              </c:strCache>
            </c:strRef>
          </c:cat>
          <c:val>
            <c:numRef>
              <c:f>Sheet1!$B$2:$B$12</c:f>
              <c:numCache>
                <c:formatCode>General</c:formatCode>
                <c:ptCount val="11"/>
                <c:pt idx="0">
                  <c:v>0.09856451083258393</c:v>
                </c:pt>
                <c:pt idx="1">
                  <c:v>0.044594229102173914</c:v>
                </c:pt>
                <c:pt idx="2">
                  <c:v>0.0539225654814754</c:v>
                </c:pt>
                <c:pt idx="3">
                  <c:v>0.07117895195873439</c:v>
                </c:pt>
                <c:pt idx="4">
                  <c:v>0.027017935250498358</c:v>
                </c:pt>
                <c:pt idx="5">
                  <c:v>0.06631290400936567</c:v>
                </c:pt>
                <c:pt idx="6">
                  <c:v>0.032212067519343024</c:v>
                </c:pt>
                <c:pt idx="7">
                  <c:v>0.021716864269478386</c:v>
                </c:pt>
                <c:pt idx="8">
                  <c:v>0.0332253069289827</c:v>
                </c:pt>
                <c:pt idx="9">
                  <c:v>0.06018529672174985</c:v>
                </c:pt>
                <c:pt idx="10">
                  <c:v>0.015808811066725777</c:v>
                </c:pt>
              </c:numCache>
            </c:numRef>
          </c:val>
          <c:extLst>
            <c:ext xmlns:c16="http://schemas.microsoft.com/office/drawing/2014/chart" uri="{C3380CC4-5D6E-409C-BE32-E72D297353CC}">
              <c16:uniqueId val="{00000020-000A-4C45-A43A-3AA69B6FEE6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Xtreme 5 Sensitive Disposable Razors 2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Xtreme 3 Sensitive Disposable Razors 4 Pack</c:v>
                </c:pt>
                <c:pt idx="1">
                  <c:v>Schick Xtreme 2 Sensitive Disposable Razors 12 Pack</c:v>
                </c:pt>
                <c:pt idx="2">
                  <c:v>None Razors</c:v>
                </c:pt>
                <c:pt idx="3">
                  <c:v>Gillette Mach 3 Sensitive Skin Disposable Razors 3 Pack</c:v>
                </c:pt>
                <c:pt idx="4">
                  <c:v>Equate Speed 3 Disposable Razors 4 Pack</c:v>
                </c:pt>
                <c:pt idx="5">
                  <c:v>Schick Xtreme 3 Sensitive Disposable Razors 8 Pack</c:v>
                </c:pt>
                <c:pt idx="6">
                  <c:v>Bic Men Sensitive Single Blade Disposable Razors 12 Pack</c:v>
                </c:pt>
                <c:pt idx="7">
                  <c:v>Equate Caliber 5 Disposable Razors 3 Pack</c:v>
                </c:pt>
                <c:pt idx="8">
                  <c:v>Gillette Sensor 3 Sensitive Disposable Razors 4 Pack</c:v>
                </c:pt>
                <c:pt idx="9">
                  <c:v>Bic Flex 4 Sensitive Skin Disposable Razors 3 Pack</c:v>
                </c:pt>
                <c:pt idx="10">
                  <c:v>Equate 2 Blade Disposable Razors 5 Pack</c:v>
                </c:pt>
              </c:strCache>
            </c:strRef>
          </c:cat>
          <c:val>
            <c:numRef>
              <c:f>Sheet1!$B$2:$B$12</c:f>
              <c:numCache>
                <c:formatCode>General</c:formatCode>
                <c:ptCount val="11"/>
                <c:pt idx="0">
                  <c:v>0.12546012920994548</c:v>
                </c:pt>
                <c:pt idx="1">
                  <c:v>0.06747174605937764</c:v>
                </c:pt>
                <c:pt idx="2">
                  <c:v>0.0741770554180057</c:v>
                </c:pt>
                <c:pt idx="3">
                  <c:v>0.06531652602969133</c:v>
                </c:pt>
                <c:pt idx="4">
                  <c:v>0.037439836994243164</c:v>
                </c:pt>
                <c:pt idx="5">
                  <c:v>0.050571165099918235</c:v>
                </c:pt>
                <c:pt idx="6">
                  <c:v>0.024492508725724296</c:v>
                </c:pt>
                <c:pt idx="7">
                  <c:v>0.029731670423506256</c:v>
                </c:pt>
                <c:pt idx="8">
                  <c:v>0.04175703241719039</c:v>
                </c:pt>
                <c:pt idx="9">
                  <c:v>0.03709616788943225</c:v>
                </c:pt>
                <c:pt idx="10">
                  <c:v>0.019290428593069765</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Schick First 4 Blade Disposable Razors 3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Xtreme 3 Sensitive Disposable Razors 4 Pack</c:v>
                </c:pt>
                <c:pt idx="1">
                  <c:v>Schick Xtreme 2 Sensitive Disposable Razors 12 Pack</c:v>
                </c:pt>
                <c:pt idx="2">
                  <c:v>None Razors</c:v>
                </c:pt>
                <c:pt idx="3">
                  <c:v>Gillette Mach 3 Sensitive Skin Disposable Razors 3 Pack</c:v>
                </c:pt>
                <c:pt idx="4">
                  <c:v>Equate Speed 3 Disposable Razors 4 Pack</c:v>
                </c:pt>
                <c:pt idx="5">
                  <c:v>Schick Xtreme 3 Sensitive Disposable Razors 8 Pack</c:v>
                </c:pt>
                <c:pt idx="6">
                  <c:v>Bic Men Sensitive Single Blade Disposable Razors 12 Pack</c:v>
                </c:pt>
                <c:pt idx="7">
                  <c:v>Equate Caliber 5 Disposable Razors 3 Pack</c:v>
                </c:pt>
                <c:pt idx="8">
                  <c:v>Gillette Sensor 3 Sensitive Disposable Razors 4 Pack</c:v>
                </c:pt>
                <c:pt idx="9">
                  <c:v>Bic Flex 4 Sensitive Skin Disposable Razors 3 Pack</c:v>
                </c:pt>
                <c:pt idx="10">
                  <c:v>Equate 2 Blade Disposable Razors 5 Pack</c:v>
                </c:pt>
              </c:strCache>
            </c:strRef>
          </c:cat>
          <c:val>
            <c:numRef>
              <c:f>Sheet1!$B$2:$B$12</c:f>
              <c:numCache>
                <c:formatCode>General</c:formatCode>
                <c:ptCount val="11"/>
                <c:pt idx="0">
                  <c:v>0.09162208391120172</c:v>
                </c:pt>
                <c:pt idx="1">
                  <c:v>0.08410781173887345</c:v>
                </c:pt>
                <c:pt idx="2">
                  <c:v>0.05143353234978644</c:v>
                </c:pt>
                <c:pt idx="3">
                  <c:v>0.03490195136935948</c:v>
                </c:pt>
                <c:pt idx="4">
                  <c:v>0.04869803069161279</c:v>
                </c:pt>
                <c:pt idx="5">
                  <c:v>0.0324438003017648</c:v>
                </c:pt>
                <c:pt idx="6">
                  <c:v>0.05309221743806111</c:v>
                </c:pt>
                <c:pt idx="7">
                  <c:v>0.039642489390288214</c:v>
                </c:pt>
                <c:pt idx="8">
                  <c:v>0.02725422473782472</c:v>
                </c:pt>
                <c:pt idx="9">
                  <c:v>0.031158488052556284</c:v>
                </c:pt>
                <c:pt idx="10">
                  <c:v>0.04086321981639978</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Equate 5 Blades Blade Refills 4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Harry's Men Five Blade Refills 4 Pack</c:v>
                </c:pt>
                <c:pt idx="1">
                  <c:v>Harry's Men Five Blade Refills 8 Pack</c:v>
                </c:pt>
                <c:pt idx="2">
                  <c:v>Gillette Mach 3 Blade Refills 4 Pack</c:v>
                </c:pt>
                <c:pt idx="3">
                  <c:v>Gillette Fusion 5 Proglide Blade Refills 4 Pack</c:v>
                </c:pt>
                <c:pt idx="4">
                  <c:v>Gillette Fusion 5 Blade Refills 4 Pack</c:v>
                </c:pt>
                <c:pt idx="5">
                  <c:v>Harry's Men Five Blade Refills 12 Pack</c:v>
                </c:pt>
                <c:pt idx="6">
                  <c:v>Equate Easy Fit 5 Blade Refills 4 Pack</c:v>
                </c:pt>
                <c:pt idx="7">
                  <c:v>Dollar Shave Club 6 Blades Blade Refills 4 Pack</c:v>
                </c:pt>
                <c:pt idx="8">
                  <c:v>Gillette Fusion 5 Proglide Blade Refills 8 Pack</c:v>
                </c:pt>
                <c:pt idx="9">
                  <c:v>Van Der Hagen Men Double Edge Blade Refills 10 Pack</c:v>
                </c:pt>
                <c:pt idx="10">
                  <c:v>Gillette Mach 3 Blade Refills 8 Pack</c:v>
                </c:pt>
              </c:strCache>
            </c:strRef>
          </c:cat>
          <c:val>
            <c:numRef>
              <c:f>Sheet1!$B$2:$B$12</c:f>
              <c:numCache>
                <c:formatCode>General</c:formatCode>
                <c:ptCount val="11"/>
                <c:pt idx="0">
                  <c:v>0.4253362118698034</c:v>
                </c:pt>
                <c:pt idx="1">
                  <c:v>0.2594578505311218</c:v>
                </c:pt>
                <c:pt idx="2">
                  <c:v>0.0470078753746881</c:v>
                </c:pt>
                <c:pt idx="3">
                  <c:v>0.041677405438929796</c:v>
                </c:pt>
                <c:pt idx="4">
                  <c:v>0.03976313331334741</c:v>
                </c:pt>
                <c:pt idx="5">
                  <c:v>0.03548077095049708</c:v>
                </c:pt>
                <c:pt idx="6">
                  <c:v>0.02115368308585475</c:v>
                </c:pt>
                <c:pt idx="7">
                  <c:v>0.020307621077997075</c:v>
                </c:pt>
                <c:pt idx="8">
                  <c:v>0.017581569966187323</c:v>
                </c:pt>
                <c:pt idx="9">
                  <c:v>0.017320780100670587</c:v>
                </c:pt>
                <c:pt idx="10">
                  <c:v>0.015365754707723599</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Equate 2 Blade Disposable Razors 20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Equate 2 Blade Disposable Razors 12 Pack</c:v>
                </c:pt>
                <c:pt idx="1">
                  <c:v>Equate 2 Blade Disposable Razors 5 Pack</c:v>
                </c:pt>
                <c:pt idx="2">
                  <c:v>Equate Caliber 5 Disposable Razors 3 Pack</c:v>
                </c:pt>
                <c:pt idx="3">
                  <c:v>Equate Speed 3 Disposable Razors 4 Pack</c:v>
                </c:pt>
                <c:pt idx="4">
                  <c:v>Equate Speed 3 Disposable Razors 8 Pack</c:v>
                </c:pt>
                <c:pt idx="5">
                  <c:v>Bic Men Sensitive Single Blade Disposable Razors 12 Pack</c:v>
                </c:pt>
                <c:pt idx="6">
                  <c:v>None Razors</c:v>
                </c:pt>
                <c:pt idx="7">
                  <c:v>Schick Xtreme 3 Sensitive Disposable Razors 4 Pack</c:v>
                </c:pt>
                <c:pt idx="8">
                  <c:v>Equate Caliber 3 Disposable Razors 3 Pack</c:v>
                </c:pt>
                <c:pt idx="9">
                  <c:v>Gillette Sensor 3 Sensitive Disposable Razors 4 Pack</c:v>
                </c:pt>
                <c:pt idx="10">
                  <c:v>Bic Comfort 3 Sensitive Skin Disposable Razors 4 Pack</c:v>
                </c:pt>
              </c:strCache>
            </c:strRef>
          </c:cat>
          <c:val>
            <c:numRef>
              <c:f>Sheet1!$B$2:$B$12</c:f>
              <c:numCache>
                <c:formatCode>General</c:formatCode>
                <c:ptCount val="11"/>
                <c:pt idx="0">
                  <c:v>0.35527586130709027</c:v>
                </c:pt>
                <c:pt idx="1">
                  <c:v>0.22015852771407857</c:v>
                </c:pt>
                <c:pt idx="2">
                  <c:v>0.02519899281236125</c:v>
                </c:pt>
                <c:pt idx="3">
                  <c:v>0.029130033735572748</c:v>
                </c:pt>
                <c:pt idx="4">
                  <c:v>0.015502388160593555</c:v>
                </c:pt>
                <c:pt idx="5">
                  <c:v>0.0915327994485978</c:v>
                </c:pt>
                <c:pt idx="6">
                  <c:v>0.03729074038879854</c:v>
                </c:pt>
                <c:pt idx="7">
                  <c:v>0.020060721578204366</c:v>
                </c:pt>
                <c:pt idx="8">
                  <c:v>0.02179568507324423</c:v>
                </c:pt>
                <c:pt idx="9">
                  <c:v>0.00803616880024338</c:v>
                </c:pt>
                <c:pt idx="10">
                  <c:v>0.02423422043709085</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Equate Caliber 3 Disposable Razors 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Equate 2 Blade Disposable Razors 12 Pack</c:v>
                </c:pt>
                <c:pt idx="1">
                  <c:v>Equate 2 Blade Disposable Razors 5 Pack</c:v>
                </c:pt>
                <c:pt idx="2">
                  <c:v>Equate Caliber 5 Disposable Razors 3 Pack</c:v>
                </c:pt>
                <c:pt idx="3">
                  <c:v>Equate Speed 3 Disposable Razors 4 Pack</c:v>
                </c:pt>
                <c:pt idx="4">
                  <c:v>Equate Speed 3 Disposable Razors 8 Pack</c:v>
                </c:pt>
                <c:pt idx="5">
                  <c:v>Bic Men Sensitive Single Blade Disposable Razors 12 Pack</c:v>
                </c:pt>
                <c:pt idx="6">
                  <c:v>None Razors</c:v>
                </c:pt>
                <c:pt idx="7">
                  <c:v>Schick Xtreme 3 Sensitive Disposable Razors 4 Pack</c:v>
                </c:pt>
                <c:pt idx="8">
                  <c:v>Equate Caliber 3 Disposable Razors 3 Pack</c:v>
                </c:pt>
                <c:pt idx="9">
                  <c:v>Gillette Sensor 3 Sensitive Disposable Razors 4 Pack</c:v>
                </c:pt>
                <c:pt idx="10">
                  <c:v>Bic Comfort 3 Sensitive Skin Disposable Razors 4 Pack</c:v>
                </c:pt>
              </c:strCache>
            </c:strRef>
          </c:cat>
          <c:val>
            <c:numRef>
              <c:f>Sheet1!$B$2:$B$12</c:f>
              <c:numCache>
                <c:formatCode>General</c:formatCode>
                <c:ptCount val="11"/>
                <c:pt idx="0">
                  <c:v>0.031044014304192718</c:v>
                </c:pt>
                <c:pt idx="1">
                  <c:v>0.021869587855425258</c:v>
                </c:pt>
                <c:pt idx="2">
                  <c:v>0.07095412745272173</c:v>
                </c:pt>
                <c:pt idx="3">
                  <c:v>0.12081352547329455</c:v>
                </c:pt>
                <c:pt idx="4">
                  <c:v>0.122741884162038</c:v>
                </c:pt>
                <c:pt idx="5">
                  <c:v>0.03344578335443007</c:v>
                </c:pt>
                <c:pt idx="6">
                  <c:v>0.05028676282318056</c:v>
                </c:pt>
                <c:pt idx="7">
                  <c:v>0.0521442783838468</c:v>
                </c:pt>
                <c:pt idx="8">
                  <c:v>0.044550224277225506</c:v>
                </c:pt>
                <c:pt idx="9">
                  <c:v>0.03296620739426525</c:v>
                </c:pt>
                <c:pt idx="10">
                  <c:v>0.03189110100186065</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Equate Caliber 5 Disposable Razors 6 Pack</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Equate 2 Blade Disposable Razors 12 Pack</c:v>
                </c:pt>
                <c:pt idx="1">
                  <c:v>Equate 2 Blade Disposable Razors 5 Pack</c:v>
                </c:pt>
                <c:pt idx="2">
                  <c:v>Equate Caliber 5 Disposable Razors 3 Pack</c:v>
                </c:pt>
                <c:pt idx="3">
                  <c:v>Equate Speed 3 Disposable Razors 4 Pack</c:v>
                </c:pt>
                <c:pt idx="4">
                  <c:v>Equate Speed 3 Disposable Razors 8 Pack</c:v>
                </c:pt>
                <c:pt idx="5">
                  <c:v>Bic Men Sensitive Single Blade Disposable Razors 12 Pack</c:v>
                </c:pt>
                <c:pt idx="6">
                  <c:v>None Razors</c:v>
                </c:pt>
                <c:pt idx="7">
                  <c:v>Schick Xtreme 3 Sensitive Disposable Razors 4 Pack</c:v>
                </c:pt>
                <c:pt idx="8">
                  <c:v>Equate Caliber 3 Disposable Razors 3 Pack</c:v>
                </c:pt>
                <c:pt idx="9">
                  <c:v>Gillette Sensor 3 Sensitive Disposable Razors 4 Pack</c:v>
                </c:pt>
                <c:pt idx="10">
                  <c:v>Bic Comfort 3 Sensitive Skin Disposable Razors 4 Pack</c:v>
                </c:pt>
              </c:strCache>
            </c:strRef>
          </c:cat>
          <c:val>
            <c:numRef>
              <c:f>Sheet1!$B$2:$B$12</c:f>
              <c:numCache>
                <c:formatCode>General</c:formatCode>
                <c:ptCount val="11"/>
                <c:pt idx="0">
                  <c:v>0.015285762009644504</c:v>
                </c:pt>
                <c:pt idx="1">
                  <c:v>0.01528959519186251</c:v>
                </c:pt>
                <c:pt idx="2">
                  <c:v>0.08944678403003323</c:v>
                </c:pt>
                <c:pt idx="3">
                  <c:v>0.028861913933988407</c:v>
                </c:pt>
                <c:pt idx="4">
                  <c:v>0.03110288886834311</c:v>
                </c:pt>
                <c:pt idx="5">
                  <c:v>0.031036345937941582</c:v>
                </c:pt>
                <c:pt idx="6">
                  <c:v>0.03811045313439228</c:v>
                </c:pt>
                <c:pt idx="7">
                  <c:v>0.036883129261547375</c:v>
                </c:pt>
                <c:pt idx="8">
                  <c:v>0.02411989679362306</c:v>
                </c:pt>
                <c:pt idx="9">
                  <c:v>0.043771529176729364</c:v>
                </c:pt>
                <c:pt idx="10">
                  <c:v>0.02668308132015185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Equate 5 Blades 1 Handle + 2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one Razors</c:v>
                </c:pt>
                <c:pt idx="1">
                  <c:v>Dollar Shave Club 6 Blades Blade Refills 4 Pack</c:v>
                </c:pt>
                <c:pt idx="2">
                  <c:v>Equate Easy Fit 5 blades 1 Handle + 2 Cartridges</c:v>
                </c:pt>
                <c:pt idx="3">
                  <c:v>Gillette Fusion 5 Blade Refills 4 Pack</c:v>
                </c:pt>
                <c:pt idx="4">
                  <c:v>Harry's Men Five Blade Refills 4 Pack</c:v>
                </c:pt>
                <c:pt idx="5">
                  <c:v>Gillette Fusion 5 1 Handle + 2 Cartridges</c:v>
                </c:pt>
                <c:pt idx="6">
                  <c:v>Schick Hydro 5 Blade Sensitive 1 Handle + 3 Cartridges</c:v>
                </c:pt>
                <c:pt idx="7">
                  <c:v>Gillette Mach 3 1 Handle + 2 Cartridges</c:v>
                </c:pt>
                <c:pt idx="8">
                  <c:v>Dollar Shave Club 6 1 Handle + 2 Blades</c:v>
                </c:pt>
                <c:pt idx="9">
                  <c:v>Harry's 5 Blade 1 Handle + 2 Cartridges</c:v>
                </c:pt>
                <c:pt idx="10">
                  <c:v>Equate 2 Blade Disposable Razors 12 Pack</c:v>
                </c:pt>
              </c:strCache>
            </c:strRef>
          </c:cat>
          <c:val>
            <c:numRef>
              <c:f>Sheet1!$B$2:$B$12</c:f>
              <c:numCache>
                <c:formatCode>General</c:formatCode>
                <c:ptCount val="11"/>
                <c:pt idx="0">
                  <c:v>0.06618861079479064</c:v>
                </c:pt>
                <c:pt idx="1">
                  <c:v>0.10958968067286384</c:v>
                </c:pt>
                <c:pt idx="2">
                  <c:v>0.05932689625304573</c:v>
                </c:pt>
                <c:pt idx="3">
                  <c:v>-0.039359026423734136</c:v>
                </c:pt>
                <c:pt idx="4">
                  <c:v>0.028452907825110473</c:v>
                </c:pt>
                <c:pt idx="5">
                  <c:v>0.03072756840084549</c:v>
                </c:pt>
                <c:pt idx="6">
                  <c:v>0.062198155125165355</c:v>
                </c:pt>
                <c:pt idx="7">
                  <c:v>0.054707437465234245</c:v>
                </c:pt>
                <c:pt idx="8">
                  <c:v>0.07298529567093269</c:v>
                </c:pt>
                <c:pt idx="9">
                  <c:v>0.0576186797629413</c:v>
                </c:pt>
                <c:pt idx="10">
                  <c:v>0.060365126727490344</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Equate Easy Fit 5 blades 1 Handle + 5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one Razors</c:v>
                </c:pt>
                <c:pt idx="1">
                  <c:v>Dollar Shave Club 6 Blades Blade Refills 4 Pack</c:v>
                </c:pt>
                <c:pt idx="2">
                  <c:v>Equate Easy Fit 5 blades 1 Handle + 2 Cartridges</c:v>
                </c:pt>
                <c:pt idx="3">
                  <c:v>Gillette Fusion 5 Blade Refills 4 Pack</c:v>
                </c:pt>
                <c:pt idx="4">
                  <c:v>Harry's Men Five Blade Refills 4 Pack</c:v>
                </c:pt>
                <c:pt idx="5">
                  <c:v>Gillette Fusion 5 1 Handle + 2 Cartridges</c:v>
                </c:pt>
                <c:pt idx="6">
                  <c:v>Schick Hydro 5 Blade Sensitive 1 Handle + 3 Cartridges</c:v>
                </c:pt>
                <c:pt idx="7">
                  <c:v>Gillette Mach 3 1 Handle + 2 Cartridges</c:v>
                </c:pt>
                <c:pt idx="8">
                  <c:v>Dollar Shave Club 6 1 Handle + 2 Blades</c:v>
                </c:pt>
                <c:pt idx="9">
                  <c:v>Harry's 5 Blade 1 Handle + 2 Cartridges</c:v>
                </c:pt>
                <c:pt idx="10">
                  <c:v>Equate 2 Blade Disposable Razors 12 Pack</c:v>
                </c:pt>
              </c:strCache>
            </c:strRef>
          </c:cat>
          <c:val>
            <c:numRef>
              <c:f>Sheet1!$B$2:$B$12</c:f>
              <c:numCache>
                <c:formatCode>General</c:formatCode>
                <c:ptCount val="11"/>
                <c:pt idx="0">
                  <c:v>0.10870439918634851</c:v>
                </c:pt>
                <c:pt idx="1">
                  <c:v>0.06170182826175026</c:v>
                </c:pt>
                <c:pt idx="2">
                  <c:v>0.09597556221324446</c:v>
                </c:pt>
                <c:pt idx="3">
                  <c:v>0.17914028778504087</c:v>
                </c:pt>
                <c:pt idx="4">
                  <c:v>0.10920028981350498</c:v>
                </c:pt>
                <c:pt idx="5">
                  <c:v>0.09785469702210706</c:v>
                </c:pt>
                <c:pt idx="6">
                  <c:v>0.049847543326949226</c:v>
                </c:pt>
                <c:pt idx="7">
                  <c:v>0.05631366020384797</c:v>
                </c:pt>
                <c:pt idx="8">
                  <c:v>0.028430648427963286</c:v>
                </c:pt>
                <c:pt idx="9">
                  <c:v>0.042039703480293025</c:v>
                </c:pt>
                <c:pt idx="10">
                  <c:v>0.01659387671986144</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Advanced Hydration Refills 6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7ECAC4"/>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006C6D"/>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7ECAC4"/>
              </a:solidFill>
            </c:spPr>
            <c:extLst>
              <c:ext xmlns:c16="http://schemas.microsoft.com/office/drawing/2014/chart" uri="{C3380CC4-5D6E-409C-BE32-E72D297353CC}">
                <c16:uniqueId val="{0000002F-A0D8-4FF8-BF2D-A6DC7B178F5A}"/>
              </c:ext>
            </c:extLst>
          </c:dPt>
          <c:dPt>
            <c:idx val="44"/>
            <c:invertIfNegative val="1"/>
            <c:bubble3D val="0"/>
            <c:spPr>
              <a:solidFill>
                <a:srgbClr val="7ECAC4"/>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AEABAB"/>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r>
                      <a:rPr sz="500">
                        <a:solidFill>
                          <a:srgbClr val="006C6D"/>
                        </a:solidFill>
                      </a:rPr>
                      <a:t>Schick Hydro 5 Blade Advanced Hydration Refills 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Harry's Men Five Blade Refills 12 Pack</c:v>
                </c:pt>
                <c:pt idx="17">
                  <c:v>Gillette Fusion 5 Blade Refills 12 Pack</c:v>
                </c:pt>
                <c:pt idx="18">
                  <c:v>Gillette Fusion 5 Proglide Blade Refills 12 Pack</c:v>
                </c:pt>
                <c:pt idx="19">
                  <c:v>Gillette Fusion 5 1 Handle + 2 Cartridges</c:v>
                </c:pt>
                <c:pt idx="20">
                  <c:v>Schick Xtreme 3 Sensitive Disposable Razors 4 Pack</c:v>
                </c:pt>
                <c:pt idx="21">
                  <c:v>Schick Hydro 5 Blade Sensitive Refills 6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Dollar Shave Club 6 1 Handle + 2 Blades</c:v>
                </c:pt>
                <c:pt idx="34">
                  <c:v>Gillette Sensor 3 Disposable Razors 12 Pack</c:v>
                </c:pt>
                <c:pt idx="35">
                  <c:v>Equate Speed 3 Disposable Razors 8 Pack</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Schick Hydro 5 Blade Advanced Hydration Refills 6 Pack</c:v>
                </c:pt>
                <c:pt idx="42">
                  <c:v>Gillette Mach 3 1 Handle + 6 Cartridges</c:v>
                </c:pt>
                <c:pt idx="43">
                  <c:v>Schick Hydro 5 Blade Sensitive 1 Handle + 3 Cartridges</c:v>
                </c:pt>
                <c:pt idx="44">
                  <c:v>Schick Xtreme 3 Sensitive Disposable Razors 8 Pack</c:v>
                </c:pt>
                <c:pt idx="45">
                  <c:v>Gillette Sensor 3 Sensitive Disposable Razors 12 Pack</c:v>
                </c:pt>
                <c:pt idx="46">
                  <c:v>Schick Hydro 3 Blade Ultra Sensitive 1 Handle + 4 Cartridges</c:v>
                </c:pt>
                <c:pt idx="47">
                  <c:v>Bic Flex 4 Sensitive Skin Disposable Razors 3 Pack</c:v>
                </c:pt>
                <c:pt idx="48">
                  <c:v>Gillette Fusion 5 1 Handle + 3 Cartridges Holiday Pack</c:v>
                </c:pt>
                <c:pt idx="49">
                  <c:v>Gillette Fusion 5 Proglide 1 Handle + 4 Cartridges</c:v>
                </c:pt>
                <c:pt idx="50">
                  <c:v>Gillette Sensor 3 Disposable Razors 8 Pack</c:v>
                </c:pt>
                <c:pt idx="51">
                  <c:v>Equate Caliber 3 Disposable Razors 3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Schick Hydro 5 Blade Sensitive Refills 1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20243806076901538</c:v>
                </c:pt>
                <c:pt idx="1">
                  <c:v>0.11381663495014804</c:v>
                </c:pt>
                <c:pt idx="2">
                  <c:v>0.10211568182670627</c:v>
                </c:pt>
                <c:pt idx="3">
                  <c:v>0.10192112353717808</c:v>
                </c:pt>
                <c:pt idx="4">
                  <c:v>0.08793683912232095</c:v>
                </c:pt>
                <c:pt idx="5">
                  <c:v>0.066019860570421</c:v>
                </c:pt>
                <c:pt idx="6">
                  <c:v>0.05522081327898196</c:v>
                </c:pt>
                <c:pt idx="7">
                  <c:v>0.0541067264013628</c:v>
                </c:pt>
                <c:pt idx="8">
                  <c:v>0.05404963766074398</c:v>
                </c:pt>
                <c:pt idx="9">
                  <c:v>0.04838605458219565</c:v>
                </c:pt>
                <c:pt idx="10">
                  <c:v>0.04401332541486999</c:v>
                </c:pt>
                <c:pt idx="11">
                  <c:v>0.04340653306019645</c:v>
                </c:pt>
                <c:pt idx="12">
                  <c:v>0.03905752306175497</c:v>
                </c:pt>
                <c:pt idx="13">
                  <c:v>0.037989831866733166</c:v>
                </c:pt>
                <c:pt idx="14">
                  <c:v>0.035609337633425206</c:v>
                </c:pt>
                <c:pt idx="15">
                  <c:v>0.03145170631567016</c:v>
                </c:pt>
                <c:pt idx="16">
                  <c:v>0.028706020742609237</c:v>
                </c:pt>
                <c:pt idx="17">
                  <c:v>0.027915214020198066</c:v>
                </c:pt>
                <c:pt idx="18">
                  <c:v>0.02668985017953773</c:v>
                </c:pt>
                <c:pt idx="19">
                  <c:v>0.026167337157207923</c:v>
                </c:pt>
                <c:pt idx="20">
                  <c:v>0.025999449197428564</c:v>
                </c:pt>
                <c:pt idx="21">
                  <c:v>0.02568251828417769</c:v>
                </c:pt>
                <c:pt idx="22">
                  <c:v>0.025598218189012815</c:v>
                </c:pt>
                <c:pt idx="23">
                  <c:v>0.025277974319052147</c:v>
                </c:pt>
                <c:pt idx="24">
                  <c:v>0.02301430722910624</c:v>
                </c:pt>
                <c:pt idx="25">
                  <c:v>0.022008725598947957</c:v>
                </c:pt>
                <c:pt idx="26">
                  <c:v>0.021834246491229347</c:v>
                </c:pt>
                <c:pt idx="27">
                  <c:v>0.021435765681856737</c:v>
                </c:pt>
                <c:pt idx="28">
                  <c:v>0.021305705104549117</c:v>
                </c:pt>
                <c:pt idx="29">
                  <c:v>0.02109143639453009</c:v>
                </c:pt>
                <c:pt idx="30">
                  <c:v>0.02068376417198227</c:v>
                </c:pt>
                <c:pt idx="31">
                  <c:v>0.020504100339821824</c:v>
                </c:pt>
                <c:pt idx="32">
                  <c:v>0.020081164936095717</c:v>
                </c:pt>
                <c:pt idx="33">
                  <c:v>0.019191273114390204</c:v>
                </c:pt>
                <c:pt idx="34">
                  <c:v>0.01915397665240991</c:v>
                </c:pt>
                <c:pt idx="35">
                  <c:v>0.01893115662884472</c:v>
                </c:pt>
                <c:pt idx="36">
                  <c:v>0.01879590070081606</c:v>
                </c:pt>
                <c:pt idx="37">
                  <c:v>0.018448808129623875</c:v>
                </c:pt>
                <c:pt idx="38">
                  <c:v>0.01837474256292101</c:v>
                </c:pt>
                <c:pt idx="39">
                  <c:v>0.018171914130113622</c:v>
                </c:pt>
                <c:pt idx="40">
                  <c:v>0.0174608637459866</c:v>
                </c:pt>
                <c:pt idx="41">
                  <c:v>0.016981231647284812</c:v>
                </c:pt>
                <c:pt idx="42">
                  <c:v>0.016937016179665105</c:v>
                </c:pt>
                <c:pt idx="43">
                  <c:v>0.016934958876711093</c:v>
                </c:pt>
                <c:pt idx="44">
                  <c:v>0.01643182331570826</c:v>
                </c:pt>
                <c:pt idx="45">
                  <c:v>0.016249116270479168</c:v>
                </c:pt>
                <c:pt idx="46">
                  <c:v>0.016100757012307256</c:v>
                </c:pt>
                <c:pt idx="47">
                  <c:v>0.016009081767943887</c:v>
                </c:pt>
                <c:pt idx="48">
                  <c:v>0.015953816774930494</c:v>
                </c:pt>
                <c:pt idx="49">
                  <c:v>0.015585382729489713</c:v>
                </c:pt>
                <c:pt idx="50">
                  <c:v>0.01418000128197821</c:v>
                </c:pt>
                <c:pt idx="51">
                  <c:v>0.013936408626723054</c:v>
                </c:pt>
                <c:pt idx="52">
                  <c:v>0.013487183605724925</c:v>
                </c:pt>
                <c:pt idx="53">
                  <c:v>0.013233352535758544</c:v>
                </c:pt>
                <c:pt idx="54">
                  <c:v>0.01291449890428844</c:v>
                </c:pt>
                <c:pt idx="55">
                  <c:v>0.012721252266037538</c:v>
                </c:pt>
                <c:pt idx="56">
                  <c:v>0.012624780809271477</c:v>
                </c:pt>
                <c:pt idx="57">
                  <c:v>0.012073308119894682</c:v>
                </c:pt>
                <c:pt idx="58">
                  <c:v>0.011307924380871238</c:v>
                </c:pt>
                <c:pt idx="59">
                  <c:v>0.01080033109509272</c:v>
                </c:pt>
                <c:pt idx="60">
                  <c:v>0.010294250113879456</c:v>
                </c:pt>
                <c:pt idx="61">
                  <c:v>0.009253043009002782</c:v>
                </c:pt>
                <c:pt idx="62">
                  <c:v>0.009088925219447229</c:v>
                </c:pt>
                <c:pt idx="63">
                  <c:v>0.00907959225660859</c:v>
                </c:pt>
                <c:pt idx="64">
                  <c:v>0.009028456118854774</c:v>
                </c:pt>
                <c:pt idx="65">
                  <c:v>0.00872938332787350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Schick Hydro 3 Blade Pro Sensitive 1 Handle + 3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1 Handle + 3 Cartridges</c:v>
                </c:pt>
                <c:pt idx="1">
                  <c:v>Gillette Mach 3 Blade Refills 4 Pack</c:v>
                </c:pt>
                <c:pt idx="2">
                  <c:v>None Razors</c:v>
                </c:pt>
                <c:pt idx="3">
                  <c:v>Harry's Men Five Blade Refills 4 Pack</c:v>
                </c:pt>
                <c:pt idx="4">
                  <c:v>Dollar Shave Club 6 Blades Blade Refills 4 Pack</c:v>
                </c:pt>
                <c:pt idx="5">
                  <c:v>Gillette Mach 3 1 Handle + 2 Cartridges</c:v>
                </c:pt>
                <c:pt idx="6">
                  <c:v>Gillette Mach 3 Blade Refills 8 Pack</c:v>
                </c:pt>
                <c:pt idx="7">
                  <c:v>Equate Easy Fit 5 Blade Refills 4 Pack</c:v>
                </c:pt>
                <c:pt idx="8">
                  <c:v>Schick Xtreme 3 Sensitive Disposable Razors 4 Pack</c:v>
                </c:pt>
                <c:pt idx="9">
                  <c:v>Gillette Fusion 5 Blade Refills 4 Pack</c:v>
                </c:pt>
                <c:pt idx="10">
                  <c:v>Dollar Shave Club 6 1 Handle + 2 Blades</c:v>
                </c:pt>
              </c:strCache>
            </c:strRef>
          </c:cat>
          <c:val>
            <c:numRef>
              <c:f>Sheet1!$B$2:$B$12</c:f>
              <c:numCache>
                <c:formatCode>General</c:formatCode>
                <c:ptCount val="11"/>
                <c:pt idx="0">
                  <c:v>0.19614803466350497</c:v>
                </c:pt>
                <c:pt idx="1">
                  <c:v>0.14512157733371953</c:v>
                </c:pt>
                <c:pt idx="2">
                  <c:v>0.0510137155803905</c:v>
                </c:pt>
                <c:pt idx="3">
                  <c:v>0.10274901752164832</c:v>
                </c:pt>
                <c:pt idx="4">
                  <c:v>0.057713252939829096</c:v>
                </c:pt>
                <c:pt idx="5">
                  <c:v>0.07410832761182326</c:v>
                </c:pt>
                <c:pt idx="6">
                  <c:v>0.05992976356412018</c:v>
                </c:pt>
                <c:pt idx="7">
                  <c:v>0.05606542910796417</c:v>
                </c:pt>
                <c:pt idx="8">
                  <c:v>0.06508752745382625</c:v>
                </c:pt>
                <c:pt idx="9">
                  <c:v>0.06880169746319711</c:v>
                </c:pt>
                <c:pt idx="10">
                  <c:v>0.02729316748586068</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Schick Hydro 3 Blade Ingrown Defense 1 Handle + 3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1 Handle + 3 Cartridges</c:v>
                </c:pt>
                <c:pt idx="1">
                  <c:v>Gillette Mach 3 Blade Refills 4 Pack</c:v>
                </c:pt>
                <c:pt idx="2">
                  <c:v>None Razors</c:v>
                </c:pt>
                <c:pt idx="3">
                  <c:v>Harry's Men Five Blade Refills 4 Pack</c:v>
                </c:pt>
                <c:pt idx="4">
                  <c:v>Dollar Shave Club 6 Blades Blade Refills 4 Pack</c:v>
                </c:pt>
                <c:pt idx="5">
                  <c:v>Gillette Mach 3 1 Handle + 2 Cartridges</c:v>
                </c:pt>
                <c:pt idx="6">
                  <c:v>Gillette Mach 3 Blade Refills 8 Pack</c:v>
                </c:pt>
                <c:pt idx="7">
                  <c:v>Equate Easy Fit 5 Blade Refills 4 Pack</c:v>
                </c:pt>
                <c:pt idx="8">
                  <c:v>Schick Xtreme 3 Sensitive Disposable Razors 4 Pack</c:v>
                </c:pt>
                <c:pt idx="9">
                  <c:v>Gillette Fusion 5 Blade Refills 4 Pack</c:v>
                </c:pt>
                <c:pt idx="10">
                  <c:v>Dollar Shave Club 6 1 Handle + 2 Blades</c:v>
                </c:pt>
              </c:strCache>
            </c:strRef>
          </c:cat>
          <c:val>
            <c:numRef>
              <c:f>Sheet1!$B$2:$B$12</c:f>
              <c:numCache>
                <c:formatCode>General</c:formatCode>
                <c:ptCount val="11"/>
                <c:pt idx="0">
                  <c:v>0.16766253827505354</c:v>
                </c:pt>
                <c:pt idx="1">
                  <c:v>0.1819889002600722</c:v>
                </c:pt>
                <c:pt idx="2">
                  <c:v>0.07545171073439698</c:v>
                </c:pt>
                <c:pt idx="3">
                  <c:v>0.10178054067056863</c:v>
                </c:pt>
                <c:pt idx="4">
                  <c:v>0.09474060761146744</c:v>
                </c:pt>
                <c:pt idx="5">
                  <c:v>0.08949537533549809</c:v>
                </c:pt>
                <c:pt idx="6">
                  <c:v>0.07410967369488518</c:v>
                </c:pt>
                <c:pt idx="7">
                  <c:v>0.05021518833060427</c:v>
                </c:pt>
                <c:pt idx="8">
                  <c:v>0.046623740128695614</c:v>
                </c:pt>
                <c:pt idx="9">
                  <c:v>0.06275606171070315</c:v>
                </c:pt>
                <c:pt idx="10">
                  <c:v>0.053937540430850264</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Hydro 5 Blade Advanced Hydration 1 Handle + 3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1 Handle + 3 Cartridges</c:v>
                </c:pt>
                <c:pt idx="1">
                  <c:v>Gillette Mach 3 Blade Refills 4 Pack</c:v>
                </c:pt>
                <c:pt idx="2">
                  <c:v>None Razors</c:v>
                </c:pt>
                <c:pt idx="3">
                  <c:v>Harry's Men Five Blade Refills 4 Pack</c:v>
                </c:pt>
                <c:pt idx="4">
                  <c:v>Dollar Shave Club 6 Blades Blade Refills 4 Pack</c:v>
                </c:pt>
                <c:pt idx="5">
                  <c:v>Gillette Mach 3 1 Handle + 2 Cartridges</c:v>
                </c:pt>
                <c:pt idx="6">
                  <c:v>Gillette Mach 3 Blade Refills 8 Pack</c:v>
                </c:pt>
                <c:pt idx="7">
                  <c:v>Equate Easy Fit 5 Blade Refills 4 Pack</c:v>
                </c:pt>
                <c:pt idx="8">
                  <c:v>Schick Xtreme 3 Sensitive Disposable Razors 4 Pack</c:v>
                </c:pt>
                <c:pt idx="9">
                  <c:v>Gillette Fusion 5 Blade Refills 4 Pack</c:v>
                </c:pt>
                <c:pt idx="10">
                  <c:v>Dollar Shave Club 6 1 Handle + 2 Blades</c:v>
                </c:pt>
              </c:strCache>
            </c:strRef>
          </c:cat>
          <c:val>
            <c:numRef>
              <c:f>Sheet1!$B$2:$B$12</c:f>
              <c:numCache>
                <c:formatCode>General</c:formatCode>
                <c:ptCount val="11"/>
                <c:pt idx="0">
                  <c:v>0.2804461643800921</c:v>
                </c:pt>
                <c:pt idx="1">
                  <c:v>0.13025670956832722</c:v>
                </c:pt>
                <c:pt idx="2">
                  <c:v>0.07899781048134515</c:v>
                </c:pt>
                <c:pt idx="3">
                  <c:v>0.13778279996645323</c:v>
                </c:pt>
                <c:pt idx="4">
                  <c:v>0.0644744174759609</c:v>
                </c:pt>
                <c:pt idx="5">
                  <c:v>0.05250811112948537</c:v>
                </c:pt>
                <c:pt idx="6">
                  <c:v>0.05178633621132488</c:v>
                </c:pt>
                <c:pt idx="7">
                  <c:v>0.06522498927541806</c:v>
                </c:pt>
                <c:pt idx="8">
                  <c:v>0.04911419844039483</c:v>
                </c:pt>
                <c:pt idx="9">
                  <c:v>0.07535640360657012</c:v>
                </c:pt>
                <c:pt idx="10">
                  <c:v>0.03265867710875529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Quattro Four Blade 1 Handle + 4 Cartri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1 Handle + 3 Cartridges</c:v>
                </c:pt>
                <c:pt idx="1">
                  <c:v>Gillette Mach 3 Blade Refills 4 Pack</c:v>
                </c:pt>
                <c:pt idx="2">
                  <c:v>None Razors</c:v>
                </c:pt>
                <c:pt idx="3">
                  <c:v>Harry's Men Five Blade Refills 4 Pack</c:v>
                </c:pt>
                <c:pt idx="4">
                  <c:v>Dollar Shave Club 6 Blades Blade Refills 4 Pack</c:v>
                </c:pt>
                <c:pt idx="5">
                  <c:v>Gillette Mach 3 1 Handle + 2 Cartridges</c:v>
                </c:pt>
                <c:pt idx="6">
                  <c:v>Gillette Mach 3 Blade Refills 8 Pack</c:v>
                </c:pt>
                <c:pt idx="7">
                  <c:v>Equate Easy Fit 5 Blade Refills 4 Pack</c:v>
                </c:pt>
                <c:pt idx="8">
                  <c:v>Schick Xtreme 3 Sensitive Disposable Razors 4 Pack</c:v>
                </c:pt>
                <c:pt idx="9">
                  <c:v>Gillette Fusion 5 Blade Refills 4 Pack</c:v>
                </c:pt>
                <c:pt idx="10">
                  <c:v>Dollar Shave Club 6 1 Handle + 2 Blades</c:v>
                </c:pt>
              </c:strCache>
            </c:strRef>
          </c:cat>
          <c:val>
            <c:numRef>
              <c:f>Sheet1!$B$2:$B$12</c:f>
              <c:numCache>
                <c:formatCode>General</c:formatCode>
                <c:ptCount val="11"/>
                <c:pt idx="0">
                  <c:v>0.17084297178723834</c:v>
                </c:pt>
                <c:pt idx="1">
                  <c:v>-0.01719643527288521</c:v>
                </c:pt>
                <c:pt idx="2">
                  <c:v>0.15300374452527984</c:v>
                </c:pt>
                <c:pt idx="3">
                  <c:v>-0.057360633036963864</c:v>
                </c:pt>
                <c:pt idx="4">
                  <c:v>0.06578362744493169</c:v>
                </c:pt>
                <c:pt idx="5">
                  <c:v>0.049330500581079725</c:v>
                </c:pt>
                <c:pt idx="6">
                  <c:v>0.009616279025395677</c:v>
                </c:pt>
                <c:pt idx="7">
                  <c:v>0.016200445258705926</c:v>
                </c:pt>
                <c:pt idx="8">
                  <c:v>0.02172853655070746</c:v>
                </c:pt>
                <c:pt idx="9">
                  <c:v>-0.02858543054852807</c:v>
                </c:pt>
                <c:pt idx="10">
                  <c:v>0.06082479359797301</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Schick Hydro 5 Blade Sensitive 1 Handle + 5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1 Handle + 3 Cartridges</c:v>
                </c:pt>
                <c:pt idx="1">
                  <c:v>None Razors</c:v>
                </c:pt>
                <c:pt idx="2">
                  <c:v>Gillette Mach 3 Blade Refills 4 Pack</c:v>
                </c:pt>
                <c:pt idx="3">
                  <c:v>Gillette Fusion 5 Blade Refills 4 Pack</c:v>
                </c:pt>
                <c:pt idx="4">
                  <c:v>Harry's Men Five Blade Refills 4 Pack</c:v>
                </c:pt>
                <c:pt idx="5">
                  <c:v>Gillette Fusion 5 Proglide Blade Refills 4 Pack</c:v>
                </c:pt>
                <c:pt idx="6">
                  <c:v>Gillette Mach 3 Blade Refills 8 Pack</c:v>
                </c:pt>
                <c:pt idx="7">
                  <c:v>Gillette Mach 3 1 Handle + 2 Cartridges</c:v>
                </c:pt>
                <c:pt idx="8">
                  <c:v>Equate Easy Fit 5 Blade Refills 4 Pack</c:v>
                </c:pt>
                <c:pt idx="9">
                  <c:v>Gillette Fusion 5 1 Handle + 2 Cartridges</c:v>
                </c:pt>
                <c:pt idx="10">
                  <c:v>Dollar Shave Club 6 Blades Blade Refills 4 Pack</c:v>
                </c:pt>
              </c:strCache>
            </c:strRef>
          </c:cat>
          <c:val>
            <c:numRef>
              <c:f>Sheet1!$B$2:$B$12</c:f>
              <c:numCache>
                <c:formatCode>General</c:formatCode>
                <c:ptCount val="11"/>
                <c:pt idx="0">
                  <c:v>0.2880606359689544</c:v>
                </c:pt>
                <c:pt idx="1">
                  <c:v>0.13757646029363946</c:v>
                </c:pt>
                <c:pt idx="2">
                  <c:v>0.12992062971517762</c:v>
                </c:pt>
                <c:pt idx="3">
                  <c:v>0.0854996959456898</c:v>
                </c:pt>
                <c:pt idx="4">
                  <c:v>0.06418165870686883</c:v>
                </c:pt>
                <c:pt idx="5">
                  <c:v>0.04910098170934108</c:v>
                </c:pt>
                <c:pt idx="6">
                  <c:v>0.05485136820575105</c:v>
                </c:pt>
                <c:pt idx="7">
                  <c:v>0.059638316544217966</c:v>
                </c:pt>
                <c:pt idx="8">
                  <c:v>0.05253187220190909</c:v>
                </c:pt>
                <c:pt idx="9">
                  <c:v>0.04318802442334463</c:v>
                </c:pt>
                <c:pt idx="10">
                  <c:v>0.03629104475010751</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Schick Hydro 5 Blade Sensitive 1 Handle + 8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1 Handle + 3 Cartridges</c:v>
                </c:pt>
                <c:pt idx="1">
                  <c:v>None Razors</c:v>
                </c:pt>
                <c:pt idx="2">
                  <c:v>Gillette Mach 3 Blade Refills 4 Pack</c:v>
                </c:pt>
                <c:pt idx="3">
                  <c:v>Gillette Fusion 5 Blade Refills 4 Pack</c:v>
                </c:pt>
                <c:pt idx="4">
                  <c:v>Harry's Men Five Blade Refills 4 Pack</c:v>
                </c:pt>
                <c:pt idx="5">
                  <c:v>Gillette Fusion 5 Proglide Blade Refills 4 Pack</c:v>
                </c:pt>
                <c:pt idx="6">
                  <c:v>Gillette Mach 3 Blade Refills 8 Pack</c:v>
                </c:pt>
                <c:pt idx="7">
                  <c:v>Gillette Mach 3 1 Handle + 2 Cartridges</c:v>
                </c:pt>
                <c:pt idx="8">
                  <c:v>Equate Easy Fit 5 Blade Refills 4 Pack</c:v>
                </c:pt>
                <c:pt idx="9">
                  <c:v>Gillette Fusion 5 1 Handle + 2 Cartridges</c:v>
                </c:pt>
                <c:pt idx="10">
                  <c:v>Dollar Shave Club 6 Blades Blade Refills 4 Pack</c:v>
                </c:pt>
              </c:strCache>
            </c:strRef>
          </c:cat>
          <c:val>
            <c:numRef>
              <c:f>Sheet1!$B$2:$B$12</c:f>
              <c:numCache>
                <c:formatCode>General</c:formatCode>
                <c:ptCount val="11"/>
                <c:pt idx="0">
                  <c:v>0.22621938336600358</c:v>
                </c:pt>
                <c:pt idx="1">
                  <c:v>0.20747287796193986</c:v>
                </c:pt>
                <c:pt idx="2">
                  <c:v>0.07196300162020128</c:v>
                </c:pt>
                <c:pt idx="3">
                  <c:v>0.08155392953973961</c:v>
                </c:pt>
                <c:pt idx="4">
                  <c:v>0.06633092311758233</c:v>
                </c:pt>
                <c:pt idx="5">
                  <c:v>0.0640342941633231</c:v>
                </c:pt>
                <c:pt idx="6">
                  <c:v>0.05136897031542233</c:v>
                </c:pt>
                <c:pt idx="7">
                  <c:v>0.04123886672825481</c:v>
                </c:pt>
                <c:pt idx="8">
                  <c:v>0.04160977322023459</c:v>
                </c:pt>
                <c:pt idx="9">
                  <c:v>0.039153818548977</c:v>
                </c:pt>
                <c:pt idx="10">
                  <c:v>0.03527639181250311</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Hydro 5 Blade Chrome 1 Handle + 3 Cartridges + Docking Station/Stand + Travel Cover</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1 Handle + 3 Cartridges</c:v>
                </c:pt>
                <c:pt idx="1">
                  <c:v>None Razors</c:v>
                </c:pt>
                <c:pt idx="2">
                  <c:v>Gillette Mach 3 Blade Refills 4 Pack</c:v>
                </c:pt>
                <c:pt idx="3">
                  <c:v>Gillette Fusion 5 Blade Refills 4 Pack</c:v>
                </c:pt>
                <c:pt idx="4">
                  <c:v>Harry's Men Five Blade Refills 4 Pack</c:v>
                </c:pt>
                <c:pt idx="5">
                  <c:v>Gillette Fusion 5 Proglide Blade Refills 4 Pack</c:v>
                </c:pt>
                <c:pt idx="6">
                  <c:v>Gillette Mach 3 Blade Refills 8 Pack</c:v>
                </c:pt>
                <c:pt idx="7">
                  <c:v>Gillette Mach 3 1 Handle + 2 Cartridges</c:v>
                </c:pt>
                <c:pt idx="8">
                  <c:v>Equate Easy Fit 5 Blade Refills 4 Pack</c:v>
                </c:pt>
                <c:pt idx="9">
                  <c:v>Gillette Fusion 5 1 Handle + 2 Cartridges</c:v>
                </c:pt>
                <c:pt idx="10">
                  <c:v>Dollar Shave Club 6 Blades Blade Refills 4 Pack</c:v>
                </c:pt>
              </c:strCache>
            </c:strRef>
          </c:cat>
          <c:val>
            <c:numRef>
              <c:f>Sheet1!$B$2:$B$12</c:f>
              <c:numCache>
                <c:formatCode>General</c:formatCode>
                <c:ptCount val="11"/>
                <c:pt idx="0">
                  <c:v>0.1498413018142238</c:v>
                </c:pt>
                <c:pt idx="1">
                  <c:v>0.12862812439580681</c:v>
                </c:pt>
                <c:pt idx="2">
                  <c:v>0.13253866991344426</c:v>
                </c:pt>
                <c:pt idx="3">
                  <c:v>0.1217004378987486</c:v>
                </c:pt>
                <c:pt idx="4">
                  <c:v>0.055871942204594106</c:v>
                </c:pt>
                <c:pt idx="5">
                  <c:v>0.07714778323976727</c:v>
                </c:pt>
                <c:pt idx="6">
                  <c:v>0.09193398917183246</c:v>
                </c:pt>
                <c:pt idx="7">
                  <c:v>0.06673226870497591</c:v>
                </c:pt>
                <c:pt idx="8">
                  <c:v>0.0609614943793927</c:v>
                </c:pt>
                <c:pt idx="9">
                  <c:v>0.05072522153648641</c:v>
                </c:pt>
                <c:pt idx="10">
                  <c:v>0.05205261475342261</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Schick Hydro 5 Groomer 1 Handle + 1 Cartridge</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Schick Hydro 5 Blade Sensitive 1 Handle + 3 Cartridges</c:v>
                </c:pt>
                <c:pt idx="1">
                  <c:v>None Razors</c:v>
                </c:pt>
                <c:pt idx="2">
                  <c:v>Gillette Mach 3 Blade Refills 4 Pack</c:v>
                </c:pt>
                <c:pt idx="3">
                  <c:v>Gillette Fusion 5 Blade Refills 4 Pack</c:v>
                </c:pt>
                <c:pt idx="4">
                  <c:v>Harry's Men Five Blade Refills 4 Pack</c:v>
                </c:pt>
                <c:pt idx="5">
                  <c:v>Gillette Fusion 5 Proglide Blade Refills 4 Pack</c:v>
                </c:pt>
                <c:pt idx="6">
                  <c:v>Gillette Mach 3 Blade Refills 8 Pack</c:v>
                </c:pt>
                <c:pt idx="7">
                  <c:v>Gillette Mach 3 1 Handle + 2 Cartridges</c:v>
                </c:pt>
                <c:pt idx="8">
                  <c:v>Equate Easy Fit 5 Blade Refills 4 Pack</c:v>
                </c:pt>
                <c:pt idx="9">
                  <c:v>Gillette Fusion 5 1 Handle + 2 Cartridges</c:v>
                </c:pt>
                <c:pt idx="10">
                  <c:v>Dollar Shave Club 6 Blades Blade Refills 4 Pack</c:v>
                </c:pt>
              </c:strCache>
            </c:strRef>
          </c:cat>
          <c:val>
            <c:numRef>
              <c:f>Sheet1!$B$2:$B$12</c:f>
              <c:numCache>
                <c:formatCode>General</c:formatCode>
                <c:ptCount val="11"/>
                <c:pt idx="0">
                  <c:v>0.2220922088150371</c:v>
                </c:pt>
                <c:pt idx="1">
                  <c:v>0.170250121207133</c:v>
                </c:pt>
                <c:pt idx="2">
                  <c:v>0.08039140707744556</c:v>
                </c:pt>
                <c:pt idx="3">
                  <c:v>0.08597360131333402</c:v>
                </c:pt>
                <c:pt idx="4">
                  <c:v>0.110721367586984</c:v>
                </c:pt>
                <c:pt idx="5">
                  <c:v>0.059907069578285885</c:v>
                </c:pt>
                <c:pt idx="6">
                  <c:v>0.0514380171155339</c:v>
                </c:pt>
                <c:pt idx="7">
                  <c:v>0.05259757534145685</c:v>
                </c:pt>
                <c:pt idx="8">
                  <c:v>0.05141506946430349</c:v>
                </c:pt>
                <c:pt idx="9">
                  <c:v>0.052433296233847654</c:v>
                </c:pt>
                <c:pt idx="10">
                  <c:v>0.05097612009498831</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Wilkinson Sword Classic Double Edge 1 Handle + 5 Cartridges</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Harry's Men Five Blade Refills 4 Pack</c:v>
                </c:pt>
                <c:pt idx="1">
                  <c:v>Gillette Mach 3 Blade Refills 4 Pack</c:v>
                </c:pt>
                <c:pt idx="2">
                  <c:v>Schick Hydro 5 Blade Sensitive 1 Handle + 3 Cartridges</c:v>
                </c:pt>
                <c:pt idx="3">
                  <c:v>Gillette Mach 3 1 Handle + 2 Cartridges</c:v>
                </c:pt>
                <c:pt idx="4">
                  <c:v>Harry's Men Five Blade Refills 8 Pack</c:v>
                </c:pt>
                <c:pt idx="5">
                  <c:v>Gillette Fusion 5 Blade Refills 4 Pack</c:v>
                </c:pt>
                <c:pt idx="6">
                  <c:v>Dollar Shave Club 6 Blades Blade Refills 4 Pack</c:v>
                </c:pt>
                <c:pt idx="7">
                  <c:v>Schick Hydro 5 Blade Sensitive Refills 6 Pack</c:v>
                </c:pt>
                <c:pt idx="8">
                  <c:v>None Razors</c:v>
                </c:pt>
                <c:pt idx="9">
                  <c:v>Harry's 5 Blade 1 Handle + 2 Cartridges</c:v>
                </c:pt>
                <c:pt idx="10">
                  <c:v>Equate Easy Fit 5 Blade Refills 4 Pack</c:v>
                </c:pt>
              </c:strCache>
            </c:strRef>
          </c:cat>
          <c:val>
            <c:numRef>
              <c:f>Sheet1!$B$2:$B$12</c:f>
              <c:numCache>
                <c:formatCode>General</c:formatCode>
                <c:ptCount val="11"/>
                <c:pt idx="0">
                  <c:v>0.2603791765992826</c:v>
                </c:pt>
                <c:pt idx="1">
                  <c:v>0.10775255810095796</c:v>
                </c:pt>
                <c:pt idx="2">
                  <c:v>0.08864400296705445</c:v>
                </c:pt>
                <c:pt idx="3">
                  <c:v>0.08328610169323877</c:v>
                </c:pt>
                <c:pt idx="4">
                  <c:v>0.07702087858011814</c:v>
                </c:pt>
                <c:pt idx="5">
                  <c:v>0.07675341724380201</c:v>
                </c:pt>
                <c:pt idx="6">
                  <c:v>0.07482673106973932</c:v>
                </c:pt>
                <c:pt idx="7">
                  <c:v>0.07465743118790479</c:v>
                </c:pt>
                <c:pt idx="8">
                  <c:v>0.07376932571385764</c:v>
                </c:pt>
                <c:pt idx="9">
                  <c:v>0.07028265161635416</c:v>
                </c:pt>
                <c:pt idx="10">
                  <c:v>0.0658156610330278</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Hydro 5 Blade Chrome Refills 6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AEABAB"/>
              </a:solidFill>
            </c:spPr>
            <c:extLst>
              <c:ext xmlns:c16="http://schemas.microsoft.com/office/drawing/2014/chart" uri="{C3380CC4-5D6E-409C-BE32-E72D297353CC}">
                <c16:uniqueId val="{00000009-902D-4251-AC41-C6D4CBCA5CD6}"/>
              </c:ext>
            </c:extLst>
          </c:dPt>
          <c:dPt>
            <c:idx val="5"/>
            <c:invertIfNegative val="1"/>
            <c:bubble3D val="0"/>
            <c:spPr>
              <a:solidFill>
                <a:srgbClr val="AEABAB"/>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AEABAB"/>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AEABAB"/>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7ECAC4"/>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AEABAB"/>
              </a:solidFill>
            </c:spPr>
            <c:extLst>
              <c:ext xmlns:c16="http://schemas.microsoft.com/office/drawing/2014/chart" uri="{C3380CC4-5D6E-409C-BE32-E72D297353CC}">
                <c16:uniqueId val="{00000029-902D-4251-AC41-C6D4CBCA5CD6}"/>
              </c:ext>
            </c:extLst>
          </c:dPt>
          <c:dPt>
            <c:idx val="21"/>
            <c:invertIfNegative val="1"/>
            <c:bubble3D val="0"/>
            <c:spPr>
              <a:solidFill>
                <a:srgbClr val="7ECAC4"/>
              </a:solidFill>
            </c:spPr>
            <c:extLst>
              <c:ext xmlns:c16="http://schemas.microsoft.com/office/drawing/2014/chart" uri="{C3380CC4-5D6E-409C-BE32-E72D297353CC}">
                <c16:uniqueId val="{0000002B-902D-4251-AC41-C6D4CBCA5CD6}"/>
              </c:ext>
            </c:extLst>
          </c:dPt>
          <c:dPt>
            <c:idx val="22"/>
            <c:invertIfNegative val="1"/>
            <c:bubble3D val="0"/>
            <c:spPr>
              <a:solidFill>
                <a:srgbClr val="7ECAC4"/>
              </a:solidFill>
            </c:spPr>
            <c:extLst>
              <c:ext xmlns:c16="http://schemas.microsoft.com/office/drawing/2014/chart" uri="{C3380CC4-5D6E-409C-BE32-E72D297353CC}">
                <c16:uniqueId val="{0000002D-902D-4251-AC41-C6D4CBCA5CD6}"/>
              </c:ext>
            </c:extLst>
          </c:dPt>
          <c:dPt>
            <c:idx val="23"/>
            <c:invertIfNegative val="1"/>
            <c:bubble3D val="0"/>
            <c:spPr>
              <a:solidFill>
                <a:srgbClr val="AEABAB"/>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7ECAC4"/>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7ECAC4"/>
              </a:solidFill>
            </c:spPr>
            <c:extLst>
              <c:ext xmlns:c16="http://schemas.microsoft.com/office/drawing/2014/chart" uri="{C3380CC4-5D6E-409C-BE32-E72D297353CC}">
                <c16:uniqueId val="{0000003D-902D-4251-AC41-C6D4CBCA5CD6}"/>
              </c:ext>
            </c:extLst>
          </c:dPt>
          <c:dPt>
            <c:idx val="31"/>
            <c:invertIfNegative val="1"/>
            <c:bubble3D val="0"/>
            <c:spPr>
              <a:solidFill>
                <a:srgbClr val="7ECAC4"/>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006C6D"/>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7ECAC4"/>
              </a:solidFill>
            </c:spPr>
            <c:extLst>
              <c:ext xmlns:c16="http://schemas.microsoft.com/office/drawing/2014/chart" uri="{C3380CC4-5D6E-409C-BE32-E72D297353CC}">
                <c16:uniqueId val="{00000057-902D-4251-AC41-C6D4CBCA5CD6}"/>
              </c:ext>
            </c:extLst>
          </c:dPt>
          <c:dPt>
            <c:idx val="44"/>
            <c:invertIfNegative val="0"/>
            <c:bubble3D val="0"/>
            <c:spPr>
              <a:solidFill>
                <a:srgbClr val="7ECAC4"/>
              </a:solidFill>
            </c:spPr>
            <c:extLst>
              <c:ext xmlns:c16="http://schemas.microsoft.com/office/drawing/2014/chart" uri="{C3380CC4-5D6E-409C-BE32-E72D297353CC}">
                <c16:uniqueId val="{00000059-902D-4251-AC41-C6D4CBCA5CD6}"/>
              </c:ext>
            </c:extLst>
          </c:dPt>
          <c:dPt>
            <c:idx val="45"/>
            <c:invertIfNegative val="1"/>
            <c:bubble3D val="0"/>
            <c:spPr>
              <a:solidFill>
                <a:srgbClr val="AEABAB"/>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extLst>
              <c:ext xmlns:c16="http://schemas.microsoft.com/office/drawing/2014/chart" uri="{C3380CC4-5D6E-409C-BE32-E72D297353CC}">
                <c16:uniqueId val="{00000063-902D-4251-AC41-C6D4CBCA5CD6}"/>
              </c:ext>
            </c:extLst>
          </c:dPt>
          <c:dPt>
            <c:idx val="50"/>
            <c:invertIfNegative val="0"/>
            <c:bubble3D val="0"/>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AEABAB"/>
              </a:solidFill>
            </c:spPr>
            <c:extLst>
              <c:ext xmlns:c16="http://schemas.microsoft.com/office/drawing/2014/chart" uri="{C3380CC4-5D6E-409C-BE32-E72D297353CC}">
                <c16:uniqueId val="{0000006B-B2E8-4080-83D6-EECA18439E6A}"/>
              </c:ext>
            </c:extLst>
          </c:dPt>
          <c:dPt>
            <c:idx val="54"/>
            <c:invertIfNegative val="1"/>
            <c:bubble3D val="0"/>
            <c:spPr>
              <a:solidFill>
                <a:srgbClr val="7ECAC4"/>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AEABAB"/>
              </a:solidFill>
            </c:spPr>
            <c:extLst>
              <c:ext xmlns:c16="http://schemas.microsoft.com/office/drawing/2014/chart" uri="{C3380CC4-5D6E-409C-BE32-E72D297353CC}">
                <c16:uniqueId val="{00000073-B2E8-4080-83D6-EECA18439E6A}"/>
              </c:ext>
            </c:extLst>
          </c:dPt>
          <c:dPt>
            <c:idx val="58"/>
            <c:invertIfNegative val="1"/>
            <c:bubble3D val="0"/>
            <c:spPr>
              <a:solidFill>
                <a:srgbClr val="7ECAC4"/>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7ECAC4"/>
              </a:solidFill>
            </c:spPr>
            <c:extLst>
              <c:ext xmlns:c16="http://schemas.microsoft.com/office/drawing/2014/chart" uri="{C3380CC4-5D6E-409C-BE32-E72D297353CC}">
                <c16:uniqueId val="{00000079-B2E8-4080-83D6-EECA18439E6A}"/>
              </c:ext>
            </c:extLst>
          </c:dPt>
          <c:dPt>
            <c:idx val="61"/>
            <c:invertIfNegative val="1"/>
            <c:bubble3D val="0"/>
            <c:spPr>
              <a:solidFill>
                <a:srgbClr val="AEABAB"/>
              </a:solidFill>
            </c:spPr>
            <c:extLst>
              <c:ext xmlns:c16="http://schemas.microsoft.com/office/drawing/2014/chart" uri="{C3380CC4-5D6E-409C-BE32-E72D297353CC}">
                <c16:uniqueId val="{0000007B-B2E8-4080-83D6-EECA18439E6A}"/>
              </c:ext>
            </c:extLst>
          </c:dPt>
          <c:dPt>
            <c:idx val="62"/>
            <c:invertIfNegative val="1"/>
            <c:bubble3D val="0"/>
            <c:spPr>
              <a:solidFill>
                <a:srgbClr val="AEABAB"/>
              </a:solidFill>
            </c:spPr>
            <c:extLst>
              <c:ext xmlns:c16="http://schemas.microsoft.com/office/drawing/2014/chart" uri="{C3380CC4-5D6E-409C-BE32-E72D297353CC}">
                <c16:uniqueId val="{0000007D-B2E8-4080-83D6-EECA18439E6A}"/>
              </c:ext>
            </c:extLst>
          </c:dPt>
          <c:dPt>
            <c:idx val="63"/>
            <c:invertIfNegative val="1"/>
            <c:bubble3D val="0"/>
            <c:spPr>
              <a:solidFill>
                <a:srgbClr val="AEABAB"/>
              </a:solidFill>
            </c:spPr>
            <c:extLst>
              <c:ext xmlns:c16="http://schemas.microsoft.com/office/drawing/2014/chart" uri="{C3380CC4-5D6E-409C-BE32-E72D297353CC}">
                <c16:uniqueId val="{0000007F-B2E8-4080-83D6-EECA18439E6A}"/>
              </c:ext>
            </c:extLst>
          </c:dPt>
          <c:dPt>
            <c:idx val="64"/>
            <c:invertIfNegative val="1"/>
            <c:bubble3D val="0"/>
            <c:spPr>
              <a:solidFill>
                <a:srgbClr val="AEABAB"/>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AEABAB"/>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AEABAB"/>
              </a:solidFill>
            </c:spPr>
            <c:extLst>
              <c:ext xmlns:c16="http://schemas.microsoft.com/office/drawing/2014/chart" uri="{C3380CC4-5D6E-409C-BE32-E72D297353CC}">
                <c16:uniqueId val="{0000008D-B2E8-4080-83D6-EECA18439E6A}"/>
              </c:ext>
            </c:extLst>
          </c:dPt>
          <c:dPt>
            <c:idx val="71"/>
            <c:invertIfNegative val="1"/>
            <c:bubble3D val="0"/>
            <c:spPr>
              <a:solidFill>
                <a:srgbClr val="AEABAB"/>
              </a:solidFill>
            </c:spPr>
            <c:extLst>
              <c:ext xmlns:c16="http://schemas.microsoft.com/office/drawing/2014/chart" uri="{C3380CC4-5D6E-409C-BE32-E72D297353CC}">
                <c16:uniqueId val="{0000008F-B2E8-4080-83D6-EECA18439E6A}"/>
              </c:ext>
            </c:extLst>
          </c:dPt>
          <c:dPt>
            <c:idx val="72"/>
            <c:invertIfNegative val="1"/>
            <c:bubble3D val="0"/>
            <c:spPr>
              <a:solidFill>
                <a:srgbClr val="AEABAB"/>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AEABAB"/>
              </a:solidFill>
            </c:spPr>
            <c:extLst>
              <c:ext xmlns:c16="http://schemas.microsoft.com/office/drawing/2014/chart" uri="{C3380CC4-5D6E-409C-BE32-E72D297353CC}">
                <c16:uniqueId val="{00000095-B2E8-4080-83D6-EECA18439E6A}"/>
              </c:ext>
            </c:extLst>
          </c:dPt>
          <c:dPt>
            <c:idx val="75"/>
            <c:invertIfNegative val="1"/>
            <c:bubble3D val="0"/>
            <c:spPr>
              <a:solidFill>
                <a:srgbClr val="AEABAB"/>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AEABAB"/>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r>
                      <a:rPr sz="500">
                        <a:solidFill>
                          <a:srgbClr val="006C6D"/>
                        </a:solidFill>
                      </a:rPr>
                      <a:t>Schick Hydro 5 Blade Chrome Refills 6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Harry's Men Five Blade Refills 12 Pack</c:v>
                </c:pt>
                <c:pt idx="17">
                  <c:v>Gillette Fusion 5 Blade Refills 12 Pack</c:v>
                </c:pt>
                <c:pt idx="18">
                  <c:v>Schick Hydro 5 Blade Sensitive Refills 6 Pack</c:v>
                </c:pt>
                <c:pt idx="19">
                  <c:v>Gillette Fusion 5 Proglide Blade Refills 12 Pack</c:v>
                </c:pt>
                <c:pt idx="20">
                  <c:v>Gillette Fusion 5 1 Handle + 2 Cartridges</c:v>
                </c:pt>
                <c:pt idx="21">
                  <c:v>Schick Xtreme 3 Sensitive Disposable Razors 4 Pack</c:v>
                </c:pt>
                <c:pt idx="22">
                  <c:v>Schick Xtreme 2 Sensitive Disposable Razors 12 Pack</c:v>
                </c:pt>
                <c:pt idx="23">
                  <c:v>Gillette Mach 3 1 Handle + 2 Cartridges</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Schick Hydro 5 Blade Chrome Refills 6 Pack</c:v>
                </c:pt>
                <c:pt idx="34">
                  <c:v>Dollar Shave Club 6 1 Handle + 2 Blades</c:v>
                </c:pt>
                <c:pt idx="35">
                  <c:v>Gillette Sensor 3 Disposable Razors 12 Pack</c:v>
                </c:pt>
                <c:pt idx="36">
                  <c:v>Equate Speed 3 Disposable Razors 8 Pack</c:v>
                </c:pt>
                <c:pt idx="37">
                  <c:v>Bic Comfort 3 Sensitive Skin Disposable Razors 4 Pack</c:v>
                </c:pt>
                <c:pt idx="38">
                  <c:v>Gillette Fusion 5 1 Handle + 5 Cartridges</c:v>
                </c:pt>
                <c:pt idx="39">
                  <c:v>Gillette Sensor 3 Sensitive Disposable Razors 8 Pack</c:v>
                </c:pt>
                <c:pt idx="40">
                  <c:v>Gillette Fusion 5 1 Handle + 7 Cartridges</c:v>
                </c:pt>
                <c:pt idx="41">
                  <c:v>Dollar Shave Club 6 Blades Blade Refills 8 Pack</c:v>
                </c:pt>
                <c:pt idx="42">
                  <c:v>Gillette Mach 3 1 Handle + 6 Cartridges</c:v>
                </c:pt>
                <c:pt idx="43">
                  <c:v>Schick Hydro 5 Blade Sensitive 1 Handle + 3 Cartridges</c:v>
                </c:pt>
                <c:pt idx="44">
                  <c:v>Schick Xtreme 3 Sensitive Disposable Razors 8 Pack</c:v>
                </c:pt>
                <c:pt idx="45">
                  <c:v>Gillette Sensor 3 Sensitive Disposable Razors 12 Pack</c:v>
                </c:pt>
                <c:pt idx="46">
                  <c:v>Schick Hydro 3 Blade Ultra Sensitive 1 Handle + 4 Cartridges</c:v>
                </c:pt>
                <c:pt idx="47">
                  <c:v>Bic Flex 4 Sensitive Skin Disposable Razors 3 Pack</c:v>
                </c:pt>
                <c:pt idx="48">
                  <c:v>Gillette Fusion 5 1 Handle + 3 Cartridges Holiday Pack</c:v>
                </c:pt>
                <c:pt idx="49">
                  <c:v>Gillette Fusion 5 Proglide 1 Handle + 4 Cartridges</c:v>
                </c:pt>
                <c:pt idx="50">
                  <c:v>Gillette Sensor 3 Disposable Razors 8 Pack</c:v>
                </c:pt>
                <c:pt idx="51">
                  <c:v>Equate Caliber 3 Disposable Razors 3 Pack</c:v>
                </c:pt>
                <c:pt idx="52">
                  <c:v>Equate Easy Fit 5 Blade Refills 12 Pack</c:v>
                </c:pt>
                <c:pt idx="53">
                  <c:v>Bic Men Sensitive Twin Blade Disposable Razors 10 Pack</c:v>
                </c:pt>
                <c:pt idx="54">
                  <c:v>Equate Easy Fit 5 blades 1 Handle + 2 Cartridges</c:v>
                </c:pt>
                <c:pt idx="55">
                  <c:v>Bic Flex 5 Disposable Razors 4 Pack</c:v>
                </c:pt>
                <c:pt idx="56">
                  <c:v>Bic Comfort 3 Sensitive Skin Disposable Razors 8 Pack</c:v>
                </c:pt>
                <c:pt idx="57">
                  <c:v>Bic Flex 5 Disposable Razors 2 Pack</c:v>
                </c:pt>
                <c:pt idx="58">
                  <c:v>Schick Hydro 5 Blade Sensitive Refills 1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20161839605857484</c:v>
                </c:pt>
                <c:pt idx="1">
                  <c:v>0.11381663495014804</c:v>
                </c:pt>
                <c:pt idx="2">
                  <c:v>0.10170221896079082</c:v>
                </c:pt>
                <c:pt idx="3">
                  <c:v>0.10150844843105168</c:v>
                </c:pt>
                <c:pt idx="4">
                  <c:v>0.08758078590039992</c:v>
                </c:pt>
                <c:pt idx="5">
                  <c:v>0.06575254843705926</c:v>
                </c:pt>
                <c:pt idx="6">
                  <c:v>0.05522081327898196</c:v>
                </c:pt>
                <c:pt idx="7">
                  <c:v>0.0541067264013628</c:v>
                </c:pt>
                <c:pt idx="8">
                  <c:v>0.05404963766074398</c:v>
                </c:pt>
                <c:pt idx="9">
                  <c:v>0.048190141119737975</c:v>
                </c:pt>
                <c:pt idx="10">
                  <c:v>0.04383511698166005</c:v>
                </c:pt>
                <c:pt idx="11">
                  <c:v>0.04323078150825578</c:v>
                </c:pt>
                <c:pt idx="12">
                  <c:v>0.038899380500967126</c:v>
                </c:pt>
                <c:pt idx="13">
                  <c:v>0.037989831866733166</c:v>
                </c:pt>
                <c:pt idx="14">
                  <c:v>0.03546515665624432</c:v>
                </c:pt>
                <c:pt idx="15">
                  <c:v>0.030379780654735056</c:v>
                </c:pt>
                <c:pt idx="16">
                  <c:v>0.028589791056894465</c:v>
                </c:pt>
                <c:pt idx="17">
                  <c:v>0.027802186283566774</c:v>
                </c:pt>
                <c:pt idx="18">
                  <c:v>0.02710959442431665</c:v>
                </c:pt>
                <c:pt idx="19">
                  <c:v>0.026581783898740496</c:v>
                </c:pt>
                <c:pt idx="20">
                  <c:v>0.026167337157207923</c:v>
                </c:pt>
                <c:pt idx="21">
                  <c:v>0.025999449197428564</c:v>
                </c:pt>
                <c:pt idx="22">
                  <c:v>0.025598218189012815</c:v>
                </c:pt>
                <c:pt idx="23">
                  <c:v>0.025277974319052147</c:v>
                </c:pt>
                <c:pt idx="24">
                  <c:v>0.02301430722910624</c:v>
                </c:pt>
                <c:pt idx="25">
                  <c:v>0.022008725598947957</c:v>
                </c:pt>
                <c:pt idx="26">
                  <c:v>0.021834246491229347</c:v>
                </c:pt>
                <c:pt idx="27">
                  <c:v>0.021435765681856737</c:v>
                </c:pt>
                <c:pt idx="28">
                  <c:v>0.021305705104549117</c:v>
                </c:pt>
                <c:pt idx="29">
                  <c:v>0.02109143639453009</c:v>
                </c:pt>
                <c:pt idx="30">
                  <c:v>0.020600016325819127</c:v>
                </c:pt>
                <c:pt idx="31">
                  <c:v>0.020504100339821824</c:v>
                </c:pt>
                <c:pt idx="32">
                  <c:v>0.020081164936095717</c:v>
                </c:pt>
                <c:pt idx="33">
                  <c:v>0.019998206401470844</c:v>
                </c:pt>
                <c:pt idx="34">
                  <c:v>0.019191273114390204</c:v>
                </c:pt>
                <c:pt idx="35">
                  <c:v>0.01915397665240991</c:v>
                </c:pt>
                <c:pt idx="36">
                  <c:v>0.01893115662884472</c:v>
                </c:pt>
                <c:pt idx="37">
                  <c:v>0.01879590070081606</c:v>
                </c:pt>
                <c:pt idx="38">
                  <c:v>0.018448808129623875</c:v>
                </c:pt>
                <c:pt idx="39">
                  <c:v>0.01837474256292101</c:v>
                </c:pt>
                <c:pt idx="40">
                  <c:v>0.018171914130113622</c:v>
                </c:pt>
                <c:pt idx="41">
                  <c:v>0.017390165312243324</c:v>
                </c:pt>
                <c:pt idx="42">
                  <c:v>0.016937016179665105</c:v>
                </c:pt>
                <c:pt idx="43">
                  <c:v>0.016934958876711093</c:v>
                </c:pt>
                <c:pt idx="44">
                  <c:v>0.01643182331570826</c:v>
                </c:pt>
                <c:pt idx="45">
                  <c:v>0.016249116270479168</c:v>
                </c:pt>
                <c:pt idx="46">
                  <c:v>0.016100757012307256</c:v>
                </c:pt>
                <c:pt idx="47">
                  <c:v>0.016009081767943887</c:v>
                </c:pt>
                <c:pt idx="48">
                  <c:v>0.015953816774930494</c:v>
                </c:pt>
                <c:pt idx="49">
                  <c:v>0.015585382729489713</c:v>
                </c:pt>
                <c:pt idx="50">
                  <c:v>0.01418000128197821</c:v>
                </c:pt>
                <c:pt idx="51">
                  <c:v>0.013936408626723054</c:v>
                </c:pt>
                <c:pt idx="52">
                  <c:v>0.013432574465512607</c:v>
                </c:pt>
                <c:pt idx="53">
                  <c:v>0.013233352535758544</c:v>
                </c:pt>
                <c:pt idx="54">
                  <c:v>0.01291449890428844</c:v>
                </c:pt>
                <c:pt idx="55">
                  <c:v>0.012721252266037538</c:v>
                </c:pt>
                <c:pt idx="56">
                  <c:v>0.012624780809271477</c:v>
                </c:pt>
                <c:pt idx="57">
                  <c:v>0.012073308119894682</c:v>
                </c:pt>
                <c:pt idx="58">
                  <c:v>0.011638888265434051</c:v>
                </c:pt>
                <c:pt idx="59">
                  <c:v>0.01080033109509272</c:v>
                </c:pt>
                <c:pt idx="60">
                  <c:v>0.010294250113879456</c:v>
                </c:pt>
                <c:pt idx="61">
                  <c:v>0.009253043009002782</c:v>
                </c:pt>
                <c:pt idx="62">
                  <c:v>0.009088925219447229</c:v>
                </c:pt>
                <c:pt idx="63">
                  <c:v>0.00907959225660859</c:v>
                </c:pt>
                <c:pt idx="64">
                  <c:v>0.009028456118854774</c:v>
                </c:pt>
                <c:pt idx="65">
                  <c:v>0.008694038356524807</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2 Sensitive Disposable Razors 24 Pack</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AEABAB"/>
              </a:solidFill>
            </c:spPr>
            <c:extLst>
              <c:ext xmlns:c16="http://schemas.microsoft.com/office/drawing/2014/chart" uri="{C3380CC4-5D6E-409C-BE32-E72D297353CC}">
                <c16:uniqueId val="{00000012-7980-4C82-8C1C-32D5A7B4E44B}"/>
              </c:ext>
            </c:extLst>
          </c:dPt>
          <c:dPt>
            <c:idx val="5"/>
            <c:invertIfNegative val="1"/>
            <c:bubble3D val="0"/>
            <c:spPr>
              <a:solidFill>
                <a:srgbClr val="AEABAB"/>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AEABAB"/>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AEABAB"/>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7ECAC4"/>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AEABAB"/>
              </a:solidFill>
            </c:spPr>
            <c:extLst>
              <c:ext xmlns:c16="http://schemas.microsoft.com/office/drawing/2014/chart" uri="{C3380CC4-5D6E-409C-BE32-E72D297353CC}">
                <c16:uniqueId val="{00000022-7980-4C82-8C1C-32D5A7B4E44B}"/>
              </c:ext>
            </c:extLst>
          </c:dPt>
          <c:dPt>
            <c:idx val="21"/>
            <c:invertIfNegative val="1"/>
            <c:bubble3D val="0"/>
            <c:spPr>
              <a:solidFill>
                <a:srgbClr val="7ECAC4"/>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7ECAC4"/>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7ECAC4"/>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7ECAC4"/>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7ECAC4"/>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7ECAC4"/>
              </a:solidFill>
            </c:spPr>
            <c:extLst>
              <c:ext xmlns:c16="http://schemas.microsoft.com/office/drawing/2014/chart" uri="{C3380CC4-5D6E-409C-BE32-E72D297353CC}">
                <c16:uniqueId val="{00000009-7980-4C82-8C1C-32D5A7B4E44B}"/>
              </c:ext>
            </c:extLst>
          </c:dPt>
          <c:dPt>
            <c:idx val="43"/>
            <c:invertIfNegative val="1"/>
            <c:bubble3D val="0"/>
            <c:spPr>
              <a:solidFill>
                <a:srgbClr val="7ECAC4"/>
              </a:solidFill>
            </c:spPr>
            <c:extLst>
              <c:ext xmlns:c16="http://schemas.microsoft.com/office/drawing/2014/chart" uri="{C3380CC4-5D6E-409C-BE32-E72D297353CC}">
                <c16:uniqueId val="{0000000B-7980-4C82-8C1C-32D5A7B4E44B}"/>
              </c:ext>
            </c:extLst>
          </c:dPt>
          <c:dPt>
            <c:idx val="44"/>
            <c:invertIfNegative val="0"/>
            <c:bubble3D val="0"/>
            <c:spPr>
              <a:solidFill>
                <a:srgbClr val="7ECAC4"/>
              </a:solidFill>
            </c:spPr>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AEABAB"/>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006C6D"/>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7ECAC4"/>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AEABAB"/>
              </a:solidFill>
            </c:spPr>
            <c:extLst>
              <c:ext xmlns:c16="http://schemas.microsoft.com/office/drawing/2014/chart" uri="{C3380CC4-5D6E-409C-BE32-E72D297353CC}">
                <c16:uniqueId val="{0000007D-77EF-42ED-BAFF-03BF265C16B5}"/>
              </c:ext>
            </c:extLst>
          </c:dPt>
          <c:dPt>
            <c:idx val="63"/>
            <c:invertIfNegative val="1"/>
            <c:bubble3D val="0"/>
            <c:spPr>
              <a:solidFill>
                <a:srgbClr val="AEABAB"/>
              </a:solidFill>
            </c:spPr>
            <c:extLst>
              <c:ext xmlns:c16="http://schemas.microsoft.com/office/drawing/2014/chart" uri="{C3380CC4-5D6E-409C-BE32-E72D297353CC}">
                <c16:uniqueId val="{0000007F-77EF-42ED-BAFF-03BF265C16B5}"/>
              </c:ext>
            </c:extLst>
          </c:dPt>
          <c:dPt>
            <c:idx val="64"/>
            <c:invertIfNegative val="1"/>
            <c:bubble3D val="0"/>
            <c:spPr>
              <a:solidFill>
                <a:srgbClr val="AEABAB"/>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AEABAB"/>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AEABAB"/>
              </a:solidFill>
            </c:spPr>
            <c:extLst>
              <c:ext xmlns:c16="http://schemas.microsoft.com/office/drawing/2014/chart" uri="{C3380CC4-5D6E-409C-BE32-E72D297353CC}">
                <c16:uniqueId val="{0000008D-77EF-42ED-BAFF-03BF265C16B5}"/>
              </c:ext>
            </c:extLst>
          </c:dPt>
          <c:dPt>
            <c:idx val="71"/>
            <c:invertIfNegative val="1"/>
            <c:bubble3D val="0"/>
            <c:spPr>
              <a:solidFill>
                <a:srgbClr val="AEABAB"/>
              </a:solidFill>
            </c:spPr>
            <c:extLst>
              <c:ext xmlns:c16="http://schemas.microsoft.com/office/drawing/2014/chart" uri="{C3380CC4-5D6E-409C-BE32-E72D297353CC}">
                <c16:uniqueId val="{0000008F-77EF-42ED-BAFF-03BF265C16B5}"/>
              </c:ext>
            </c:extLst>
          </c:dPt>
          <c:dPt>
            <c:idx val="72"/>
            <c:invertIfNegative val="1"/>
            <c:bubble3D val="0"/>
            <c:spPr>
              <a:solidFill>
                <a:srgbClr val="AEABAB"/>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AEABAB"/>
              </a:solidFill>
            </c:spPr>
            <c:extLst>
              <c:ext xmlns:c16="http://schemas.microsoft.com/office/drawing/2014/chart" uri="{C3380CC4-5D6E-409C-BE32-E72D297353CC}">
                <c16:uniqueId val="{00000095-77EF-42ED-BAFF-03BF265C16B5}"/>
              </c:ext>
            </c:extLst>
          </c:dPt>
          <c:dPt>
            <c:idx val="75"/>
            <c:invertIfNegative val="1"/>
            <c:bubble3D val="0"/>
            <c:spPr>
              <a:solidFill>
                <a:srgbClr val="AEABAB"/>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AEABAB"/>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r>
                      <a:rPr sz="500">
                        <a:solidFill>
                          <a:srgbClr val="006C6D"/>
                        </a:solidFill>
                      </a:rPr>
                      <a:t>Schick Xtreme 2 Sensitive Disposable Razors 24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3 Sensitive Disposable Razors 4 Pack</c:v>
                </c:pt>
                <c:pt idx="22">
                  <c:v>Gillette Mach 3 1 Handle + 2 Cartridges</c:v>
                </c:pt>
                <c:pt idx="23">
                  <c:v>Schick Xtreme 2 Sensitive Disposable Razors 12 Pack</c:v>
                </c:pt>
                <c:pt idx="24">
                  <c:v>Harry's 5 Blade 1 Handle + 5 Cartridges</c:v>
                </c:pt>
                <c:pt idx="25">
                  <c:v>Gillette Sensor 3 Sensitive Disposable Razors 4 Pack</c:v>
                </c:pt>
                <c:pt idx="26">
                  <c:v>Equate Speed 3 Disposable Razors 4 Pack</c:v>
                </c:pt>
                <c:pt idx="27">
                  <c:v>Gillette Mach 3 Sensitive Skin Disposable Razors 3 Pack</c:v>
                </c:pt>
                <c:pt idx="28">
                  <c:v>Bic 3 Sensitive Disposable Razors 5 Pack</c:v>
                </c:pt>
                <c:pt idx="29">
                  <c:v>Equate Easy Fit 5 Blade Refills 8 Pack</c:v>
                </c:pt>
                <c:pt idx="30">
                  <c:v>Gillette Sensor 2 Pivot Head Disposable Razors 12 Pack</c:v>
                </c:pt>
                <c:pt idx="31">
                  <c:v>Equate Caliber 5 Disposable Razors 3 Pack</c:v>
                </c:pt>
                <c:pt idx="32">
                  <c:v>Gillette Sensor 2 Plus Disposable Razors 10 Pack</c:v>
                </c:pt>
                <c:pt idx="33">
                  <c:v>Dollar Shave Club 6 1 Handle + 2 Blades</c:v>
                </c:pt>
                <c:pt idx="34">
                  <c:v>Equate Speed 3 Disposable Razors 8 Pack</c:v>
                </c:pt>
                <c:pt idx="35">
                  <c:v>Gillette Sensor 3 Disposable Razors 12 Pack</c:v>
                </c:pt>
                <c:pt idx="36">
                  <c:v>Bic Comfort 3 Sensitive Skin Disposable Razors 4 Pack</c:v>
                </c:pt>
                <c:pt idx="37">
                  <c:v>Gillette Fusion 5 1 Handle + 5 Cartridges</c:v>
                </c:pt>
                <c:pt idx="38">
                  <c:v>Gillette Sensor 3 Sensitive Disposable Razors 8 Pack</c:v>
                </c:pt>
                <c:pt idx="39">
                  <c:v>Gillette Fusion 5 1 Handle + 7 Cartridges</c:v>
                </c:pt>
                <c:pt idx="40">
                  <c:v>Dollar Shave Club 6 Blades Blade Refills 8 Pack</c:v>
                </c:pt>
                <c:pt idx="41">
                  <c:v>Gillette Mach 3 1 Handle + 6 Cartridges</c:v>
                </c:pt>
                <c:pt idx="42">
                  <c:v>Schick Hydro 5 Blade Sensitive 1 Handle + 3 Cartridges</c:v>
                </c:pt>
                <c:pt idx="43">
                  <c:v>Schick Hydro 3 Blade Ultra Sensitive 1 Handle + 4 Cartridges</c:v>
                </c:pt>
                <c:pt idx="44">
                  <c:v>Schick Xtreme 3 Sensitive Disposable Razors 8 Pack</c:v>
                </c:pt>
                <c:pt idx="45">
                  <c:v>Gillette Fusion 5 1 Handle + 3 Cartridges Holiday Pack</c:v>
                </c:pt>
                <c:pt idx="46">
                  <c:v>Bic Flex 4 Sensitive Skin Disposable Razors 3 Pack</c:v>
                </c:pt>
                <c:pt idx="47">
                  <c:v>Gillette Sensor 3 Sensitive Disposable Razors 12 Pack</c:v>
                </c:pt>
                <c:pt idx="48">
                  <c:v>Gillette Fusion 5 Proglide 1 Handle + 4 Cartridges</c:v>
                </c:pt>
                <c:pt idx="49">
                  <c:v>Gillette Sensor 3 Disposable Razors 8 Pack</c:v>
                </c:pt>
                <c:pt idx="50">
                  <c:v>Equate Caliber 3 Disposable Razors 3 Pack</c:v>
                </c:pt>
                <c:pt idx="51">
                  <c:v>Schick Hydro 5 Blade Sensitive Refills 12 Pack</c:v>
                </c:pt>
                <c:pt idx="52">
                  <c:v>Equate Easy Fit 5 Blade Refills 12 Pack</c:v>
                </c:pt>
                <c:pt idx="53">
                  <c:v>Equate Easy Fit 5 blades 1 Handle + 2 Cartridges</c:v>
                </c:pt>
                <c:pt idx="54">
                  <c:v>Bic Men Sensitive Twin Blade Disposable Razors 10 Pack</c:v>
                </c:pt>
                <c:pt idx="55">
                  <c:v>Bic Flex 5 Disposable Razors 4 Pack</c:v>
                </c:pt>
                <c:pt idx="56">
                  <c:v>Bic Comfort 3 Sensitive Skin Disposable Razors 8 Pack</c:v>
                </c:pt>
                <c:pt idx="57">
                  <c:v>Bic Flex 5 Disposable Razors 2 Pack</c:v>
                </c:pt>
                <c:pt idx="58">
                  <c:v>Schick Xtreme 2 Sensitive Disposable Razors 24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Sensitive Skin Disposable Razors 6 Pack</c:v>
                </c:pt>
                <c:pt idx="64">
                  <c:v>Gillette Sensor 2 Pivot Head Disposable Razors 25 Pack</c:v>
                </c:pt>
                <c:pt idx="65">
                  <c:v>Gillette Mach 3 Blade Refills 15 Pack</c:v>
                </c:pt>
              </c:strCache>
            </c:strRef>
          </c:cat>
          <c:val>
            <c:numRef>
              <c:f>Sheet1!$B$2:$B$67</c:f>
              <c:numCache>
                <c:formatCode>General</c:formatCode>
                <c:ptCount val="66"/>
                <c:pt idx="0">
                  <c:v>0.20390709799092432</c:v>
                </c:pt>
                <c:pt idx="1">
                  <c:v>0.11339727035050895</c:v>
                </c:pt>
                <c:pt idx="2">
                  <c:v>0.10280989594909833</c:v>
                </c:pt>
                <c:pt idx="3">
                  <c:v>0.10254345105460907</c:v>
                </c:pt>
                <c:pt idx="4">
                  <c:v>0.08855997268637394</c:v>
                </c:pt>
                <c:pt idx="5">
                  <c:v>0.06648419968156764</c:v>
                </c:pt>
                <c:pt idx="6">
                  <c:v>0.05471690549575951</c:v>
                </c:pt>
                <c:pt idx="7">
                  <c:v>0.053705590337448615</c:v>
                </c:pt>
                <c:pt idx="8">
                  <c:v>0.053215834543462126</c:v>
                </c:pt>
                <c:pt idx="9">
                  <c:v>0.048685170899839154</c:v>
                </c:pt>
                <c:pt idx="10">
                  <c:v>0.0442900158867666</c:v>
                </c:pt>
                <c:pt idx="11">
                  <c:v>0.04362874436694253</c:v>
                </c:pt>
                <c:pt idx="12">
                  <c:v>0.03933417291704768</c:v>
                </c:pt>
                <c:pt idx="13">
                  <c:v>0.037956066510121275</c:v>
                </c:pt>
                <c:pt idx="14">
                  <c:v>0.03581976810188718</c:v>
                </c:pt>
                <c:pt idx="15">
                  <c:v>0.03501202100068628</c:v>
                </c:pt>
                <c:pt idx="16">
                  <c:v>0.03061243898030494</c:v>
                </c:pt>
                <c:pt idx="17">
                  <c:v>0.028912308409308012</c:v>
                </c:pt>
                <c:pt idx="18">
                  <c:v>0.02811184893017433</c:v>
                </c:pt>
                <c:pt idx="19">
                  <c:v>0.02688062488168981</c:v>
                </c:pt>
                <c:pt idx="20">
                  <c:v>0.026083148338693716</c:v>
                </c:pt>
                <c:pt idx="21">
                  <c:v>0.025293613696744113</c:v>
                </c:pt>
                <c:pt idx="22">
                  <c:v>0.02514858676564054</c:v>
                </c:pt>
                <c:pt idx="23">
                  <c:v>0.023775241624775723</c:v>
                </c:pt>
                <c:pt idx="24">
                  <c:v>0.022976197237598316</c:v>
                </c:pt>
                <c:pt idx="25">
                  <c:v>0.021822738621665595</c:v>
                </c:pt>
                <c:pt idx="26">
                  <c:v>0.021726215126454042</c:v>
                </c:pt>
                <c:pt idx="27">
                  <c:v>0.02130258464788144</c:v>
                </c:pt>
                <c:pt idx="28">
                  <c:v>0.021176572120714734</c:v>
                </c:pt>
                <c:pt idx="29">
                  <c:v>0.02081937427951129</c:v>
                </c:pt>
                <c:pt idx="30">
                  <c:v>0.02046810424411547</c:v>
                </c:pt>
                <c:pt idx="31">
                  <c:v>0.020425899519535565</c:v>
                </c:pt>
                <c:pt idx="32">
                  <c:v>0.019707205740052625</c:v>
                </c:pt>
                <c:pt idx="33">
                  <c:v>0.01914208910574114</c:v>
                </c:pt>
                <c:pt idx="34">
                  <c:v>0.01880676218910597</c:v>
                </c:pt>
                <c:pt idx="35">
                  <c:v>0.01877792957231338</c:v>
                </c:pt>
                <c:pt idx="36">
                  <c:v>0.01872003639432053</c:v>
                </c:pt>
                <c:pt idx="37">
                  <c:v>0.0184013990955645</c:v>
                </c:pt>
                <c:pt idx="38">
                  <c:v>0.01815230097398615</c:v>
                </c:pt>
                <c:pt idx="39">
                  <c:v>0.01812810417125172</c:v>
                </c:pt>
                <c:pt idx="40">
                  <c:v>0.017576552988166464</c:v>
                </c:pt>
                <c:pt idx="41">
                  <c:v>0.01688613321948501</c:v>
                </c:pt>
                <c:pt idx="42">
                  <c:v>0.01675982162499399</c:v>
                </c:pt>
                <c:pt idx="43">
                  <c:v>0.015969136177299555</c:v>
                </c:pt>
                <c:pt idx="44">
                  <c:v>0.015943921887533796</c:v>
                </c:pt>
                <c:pt idx="45">
                  <c:v>0.015907886317030388</c:v>
                </c:pt>
                <c:pt idx="46">
                  <c:v>0.015873597342753915</c:v>
                </c:pt>
                <c:pt idx="47">
                  <c:v>0.015869779231250623</c:v>
                </c:pt>
                <c:pt idx="48">
                  <c:v>0.015552168361798695</c:v>
                </c:pt>
                <c:pt idx="49">
                  <c:v>0.014051160831257686</c:v>
                </c:pt>
                <c:pt idx="50">
                  <c:v>0.013900832016923086</c:v>
                </c:pt>
                <c:pt idx="51">
                  <c:v>0.013651975249015978</c:v>
                </c:pt>
                <c:pt idx="52">
                  <c:v>0.01357501951971525</c:v>
                </c:pt>
                <c:pt idx="53">
                  <c:v>0.012852142313957168</c:v>
                </c:pt>
                <c:pt idx="54">
                  <c:v>0.012837865348494041</c:v>
                </c:pt>
                <c:pt idx="55">
                  <c:v>0.012671483790489326</c:v>
                </c:pt>
                <c:pt idx="56">
                  <c:v>0.012506289730780907</c:v>
                </c:pt>
                <c:pt idx="57">
                  <c:v>0.011967296209937186</c:v>
                </c:pt>
                <c:pt idx="58">
                  <c:v>0.011169639474489266</c:v>
                </c:pt>
                <c:pt idx="59">
                  <c:v>0.01061800890244466</c:v>
                </c:pt>
                <c:pt idx="60">
                  <c:v>0.00962161552858045</c:v>
                </c:pt>
                <c:pt idx="61">
                  <c:v>0.009172654498509408</c:v>
                </c:pt>
                <c:pt idx="62">
                  <c:v>0.009042044439691945</c:v>
                </c:pt>
                <c:pt idx="63">
                  <c:v>0.008975291079887681</c:v>
                </c:pt>
                <c:pt idx="64">
                  <c:v>0.008824835248955703</c:v>
                </c:pt>
                <c:pt idx="65">
                  <c:v>0.008785346226371131</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chick Xtreme 5 Sensitive Disposable Razors 4 Pack</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AEABAB"/>
              </a:solidFill>
            </c:spPr>
            <c:extLst>
              <c:ext xmlns:c16="http://schemas.microsoft.com/office/drawing/2014/chart" uri="{C3380CC4-5D6E-409C-BE32-E72D297353CC}">
                <c16:uniqueId val="{0000000C-A0D8-4FF8-BF2D-A6DC7B178F5A}"/>
              </c:ext>
            </c:extLst>
          </c:dPt>
          <c:dPt>
            <c:idx val="5"/>
            <c:invertIfNegative val="1"/>
            <c:bubble3D val="0"/>
            <c:spPr>
              <a:solidFill>
                <a:srgbClr val="AEABAB"/>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AEABAB"/>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AEABAB"/>
              </a:solidFill>
            </c:spPr>
            <c:extLst>
              <c:ext xmlns:c16="http://schemas.microsoft.com/office/drawing/2014/chart" uri="{C3380CC4-5D6E-409C-BE32-E72D297353CC}">
                <c16:uniqueId val="{00000013-A0D8-4FF8-BF2D-A6DC7B178F5A}"/>
              </c:ext>
            </c:extLst>
          </c:dPt>
          <c:dPt>
            <c:idx val="15"/>
            <c:invertIfNegative val="1"/>
            <c:bubble3D val="0"/>
            <c:spPr>
              <a:solidFill>
                <a:srgbClr val="7ECAC4"/>
              </a:solidFill>
            </c:spPr>
            <c:extLst>
              <c:ext xmlns:c16="http://schemas.microsoft.com/office/drawing/2014/chart" uri="{C3380CC4-5D6E-409C-BE32-E72D297353CC}">
                <c16:uniqueId val="{00000014-A0D8-4FF8-BF2D-A6DC7B178F5A}"/>
              </c:ext>
            </c:extLst>
          </c:dPt>
          <c:dPt>
            <c:idx val="16"/>
            <c:invertIfNegative val="1"/>
            <c:bubble3D val="0"/>
            <c:spPr>
              <a:solidFill>
                <a:srgbClr val="7ECAC4"/>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7ECAC4"/>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7ECAC4"/>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7ECAC4"/>
              </a:solidFill>
            </c:spPr>
            <c:extLst>
              <c:ext xmlns:c16="http://schemas.microsoft.com/office/drawing/2014/chart" uri="{C3380CC4-5D6E-409C-BE32-E72D297353CC}">
                <c16:uniqueId val="{00000023-A0D8-4FF8-BF2D-A6DC7B178F5A}"/>
              </c:ext>
            </c:extLst>
          </c:dPt>
          <c:dPt>
            <c:idx val="31"/>
            <c:invertIfNegative val="1"/>
            <c:bubble3D val="0"/>
            <c:spPr>
              <a:solidFill>
                <a:srgbClr val="7ECAC4"/>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7ECAC4"/>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7ECAC4"/>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7ECAC4"/>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extLst>
              <c:ext xmlns:c16="http://schemas.microsoft.com/office/drawing/2014/chart" uri="{C3380CC4-5D6E-409C-BE32-E72D297353CC}">
                <c16:uniqueId val="{00000032-A0D8-4FF8-BF2D-A6DC7B178F5A}"/>
              </c:ext>
            </c:extLst>
          </c:dPt>
          <c:dPt>
            <c:idx val="47"/>
            <c:invertIfNegative val="1"/>
            <c:bubble3D val="0"/>
            <c:spPr>
              <a:solidFill>
                <a:srgbClr val="006C6D"/>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AEABAB"/>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7ECAC4"/>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7ECAC4"/>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AEABAB"/>
              </a:solidFill>
            </c:spPr>
            <c:extLst>
              <c:ext xmlns:c16="http://schemas.microsoft.com/office/drawing/2014/chart" uri="{C3380CC4-5D6E-409C-BE32-E72D297353CC}">
                <c16:uniqueId val="{0000007D-B572-4DF2-A18B-EB5D630E70B4}"/>
              </c:ext>
            </c:extLst>
          </c:dPt>
          <c:dPt>
            <c:idx val="63"/>
            <c:invertIfNegative val="1"/>
            <c:bubble3D val="0"/>
            <c:spPr>
              <a:solidFill>
                <a:srgbClr val="AEABAB"/>
              </a:solidFill>
            </c:spPr>
            <c:extLst>
              <c:ext xmlns:c16="http://schemas.microsoft.com/office/drawing/2014/chart" uri="{C3380CC4-5D6E-409C-BE32-E72D297353CC}">
                <c16:uniqueId val="{0000007F-B572-4DF2-A18B-EB5D630E70B4}"/>
              </c:ext>
            </c:extLst>
          </c:dPt>
          <c:dPt>
            <c:idx val="64"/>
            <c:invertIfNegative val="1"/>
            <c:bubble3D val="0"/>
            <c:spPr>
              <a:solidFill>
                <a:srgbClr val="AEABAB"/>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AEABAB"/>
              </a:solidFill>
            </c:spPr>
            <c:extLst>
              <c:ext xmlns:c16="http://schemas.microsoft.com/office/drawing/2014/chart" uri="{C3380CC4-5D6E-409C-BE32-E72D297353CC}">
                <c16:uniqueId val="{0000008D-B572-4DF2-A18B-EB5D630E70B4}"/>
              </c:ext>
            </c:extLst>
          </c:dPt>
          <c:dPt>
            <c:idx val="71"/>
            <c:invertIfNegative val="1"/>
            <c:bubble3D val="0"/>
            <c:spPr>
              <a:solidFill>
                <a:srgbClr val="AEABAB"/>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AEABAB"/>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AEABAB"/>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r>
                      <a:rPr sz="500">
                        <a:solidFill>
                          <a:srgbClr val="006C6D"/>
                        </a:solidFill>
                      </a:rPr>
                      <a:t>Schick Xtreme 5 Sensitive Disposable Razors 4 Pack</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7</c:f>
              <c:strCache>
                <c:ptCount val="66"/>
                <c:pt idx="0">
                  <c:v>Harry's Men Five Blade Refills 4 Pack</c:v>
                </c:pt>
                <c:pt idx="1">
                  <c:v>None Razors</c:v>
                </c:pt>
                <c:pt idx="2">
                  <c:v>Gillette Fusion 5 Blade Refills 4 Pack</c:v>
                </c:pt>
                <c:pt idx="3">
                  <c:v>Gillette Mach 3 Blade Refills 4 Pack</c:v>
                </c:pt>
                <c:pt idx="4">
                  <c:v>Gillette Fusion 5 Proglide Blade Refills 4 Pack</c:v>
                </c:pt>
                <c:pt idx="5">
                  <c:v>Harry's Men Five Blade Refills 8 Pack</c:v>
                </c:pt>
                <c:pt idx="6">
                  <c:v>Equate 2 Blade Disposable Razors 12 Pack</c:v>
                </c:pt>
                <c:pt idx="7">
                  <c:v>Equate 2 Blade Disposable Razors 5 Pack</c:v>
                </c:pt>
                <c:pt idx="8">
                  <c:v>Bic Men Sensitive Single Blade Disposable Razors 12 Pack</c:v>
                </c:pt>
                <c:pt idx="9">
                  <c:v>Equate Easy Fit 5 Blade Refills 4 Pack</c:v>
                </c:pt>
                <c:pt idx="10">
                  <c:v>Dollar Shave Club 6 Blades Blade Refills 4 Pack</c:v>
                </c:pt>
                <c:pt idx="11">
                  <c:v>Van Der Hagen Men Double Edge Blade Refills 10 Pack</c:v>
                </c:pt>
                <c:pt idx="12">
                  <c:v>Gillette Fusion 5 Proglide Blade Refills 8 Pack</c:v>
                </c:pt>
                <c:pt idx="13">
                  <c:v>Harry's 5 Blade 1 Handle + 2 Cartridges</c:v>
                </c:pt>
                <c:pt idx="14">
                  <c:v>Gillette Mach 3 Blade Refills 8 Pack</c:v>
                </c:pt>
                <c:pt idx="15">
                  <c:v>Schick Hydro 3 Blade Ultra Sensitive Refills 5 Pack</c:v>
                </c:pt>
                <c:pt idx="16">
                  <c:v>Schick Hydro 5 Blade Sensitive Refills 6 Pack</c:v>
                </c:pt>
                <c:pt idx="17">
                  <c:v>Harry's Men Five Blade Refills 12 Pack</c:v>
                </c:pt>
                <c:pt idx="18">
                  <c:v>Gillette Fusion 5 Blade Refills 12 Pack</c:v>
                </c:pt>
                <c:pt idx="19">
                  <c:v>Gillette Fusion 5 Proglide Blade Refills 12 Pack</c:v>
                </c:pt>
                <c:pt idx="20">
                  <c:v>Gillette Fusion 5 1 Handle + 2 Cartridges</c:v>
                </c:pt>
                <c:pt idx="21">
                  <c:v>Schick Xtreme 2 Sensitive Disposable Razors 12 Pack</c:v>
                </c:pt>
                <c:pt idx="22">
                  <c:v>Schick Xtreme 3 Sensitive Disposable Razors 4 Pack</c:v>
                </c:pt>
                <c:pt idx="23">
                  <c:v>Gillette Mach 3 1 Handle + 2 Cartridges</c:v>
                </c:pt>
                <c:pt idx="24">
                  <c:v>Harry's 5 Blade 1 Handle + 5 Cartridges</c:v>
                </c:pt>
                <c:pt idx="25">
                  <c:v>Equate Speed 3 Disposable Razors 4 Pack</c:v>
                </c:pt>
                <c:pt idx="26">
                  <c:v>Gillette Sensor 3 Sensitive Disposable Razors 4 Pack</c:v>
                </c:pt>
                <c:pt idx="27">
                  <c:v>Bic 3 Sensitive Disposable Razors 5 Pack</c:v>
                </c:pt>
                <c:pt idx="28">
                  <c:v>Gillette Mach 3 Sensitive Skin Disposable Razors 3 Pack</c:v>
                </c:pt>
                <c:pt idx="29">
                  <c:v>Gillette Sensor 2 Pivot Head Disposable Razors 12 Pack</c:v>
                </c:pt>
                <c:pt idx="30">
                  <c:v>Equate Easy Fit 5 Blade Refills 8 Pack</c:v>
                </c:pt>
                <c:pt idx="31">
                  <c:v>Equate Caliber 5 Disposable Razors 3 Pack</c:v>
                </c:pt>
                <c:pt idx="32">
                  <c:v>Gillette Sensor 2 Plus Disposable Razors 10 Pack</c:v>
                </c:pt>
                <c:pt idx="33">
                  <c:v>Dollar Shave Club 6 1 Handle + 2 Blades</c:v>
                </c:pt>
                <c:pt idx="34">
                  <c:v>Equate Speed 3 Disposable Razors 8 Pack</c:v>
                </c:pt>
                <c:pt idx="35">
                  <c:v>Gillette Sensor 3 Disposable Razors 12 Pack</c:v>
                </c:pt>
                <c:pt idx="36">
                  <c:v>Bic Comfort 3 Sensitive Skin Disposable Razors 4 Pack</c:v>
                </c:pt>
                <c:pt idx="37">
                  <c:v>Gillette Fusion 5 1 Handle + 5 Cartridges</c:v>
                </c:pt>
                <c:pt idx="38">
                  <c:v>Gillette Fusion 5 1 Handle + 7 Cartridges</c:v>
                </c:pt>
                <c:pt idx="39">
                  <c:v>Gillette Sensor 3 Sensitive Disposable Razors 8 Pack</c:v>
                </c:pt>
                <c:pt idx="40">
                  <c:v>Dollar Shave Club 6 Blades Blade Refills 8 Pack</c:v>
                </c:pt>
                <c:pt idx="41">
                  <c:v>Gillette Mach 3 1 Handle + 6 Cartridges</c:v>
                </c:pt>
                <c:pt idx="42">
                  <c:v>Schick Hydro 5 Blade Sensitive 1 Handle + 3 Cartridges</c:v>
                </c:pt>
                <c:pt idx="43">
                  <c:v>Gillette Fusion 5 1 Handle + 3 Cartridges Holiday Pack</c:v>
                </c:pt>
                <c:pt idx="44">
                  <c:v>Schick Hydro 3 Blade Ultra Sensitive 1 Handle + 4 Cartridges</c:v>
                </c:pt>
                <c:pt idx="45">
                  <c:v>Bic Flex 4 Sensitive Skin Disposable Razors 3 Pack</c:v>
                </c:pt>
                <c:pt idx="46">
                  <c:v>Gillette Sensor 3 Sensitive Disposable Razors 12 Pack</c:v>
                </c:pt>
                <c:pt idx="47">
                  <c:v>Schick Xtreme 5 Sensitive Disposable Razors 4 Pack</c:v>
                </c:pt>
                <c:pt idx="48">
                  <c:v>Gillette Fusion 5 Proglide 1 Handle + 4 Cartridges</c:v>
                </c:pt>
                <c:pt idx="49">
                  <c:v>Schick Xtreme 3 Sensitive Disposable Razors 8 Pack</c:v>
                </c:pt>
                <c:pt idx="50">
                  <c:v>Gillette Sensor 3 Disposable Razors 8 Pack</c:v>
                </c:pt>
                <c:pt idx="51">
                  <c:v>Equate Caliber 3 Disposable Razors 3 Pack</c:v>
                </c:pt>
                <c:pt idx="52">
                  <c:v>Schick Hydro 5 Blade Sensitive Refills 12 Pack</c:v>
                </c:pt>
                <c:pt idx="53">
                  <c:v>Equate Easy Fit 5 Blade Refills 12 Pack</c:v>
                </c:pt>
                <c:pt idx="54">
                  <c:v>Bic Men Sensitive Twin Blade Disposable Razors 10 Pack</c:v>
                </c:pt>
                <c:pt idx="55">
                  <c:v>Equate Easy Fit 5 blades 1 Handle + 2 Cartridges</c:v>
                </c:pt>
                <c:pt idx="56">
                  <c:v>Bic Comfort 3 Sensitive Skin Disposable Razors 8 Pack</c:v>
                </c:pt>
                <c:pt idx="57">
                  <c:v>Bic Flex 5 Disposable Razors 4 Pack</c:v>
                </c:pt>
                <c:pt idx="58">
                  <c:v>Bic Flex 5 Disposable Razors 2 Pack</c:v>
                </c:pt>
                <c:pt idx="59">
                  <c:v>Gillette Sensor 2 Plus Pivot Head Disposable Razors 21 Pack</c:v>
                </c:pt>
                <c:pt idx="60">
                  <c:v>Schick Xtreme 3 Sensitive Disposable Razors 12 Pack</c:v>
                </c:pt>
                <c:pt idx="61">
                  <c:v>Van Der Hagen Men Double Edge Blade 1 Handle + 5 Cartridges</c:v>
                </c:pt>
                <c:pt idx="62">
                  <c:v>Bic Flex 5 Disposable Razors 6 Pack Holiday Pack</c:v>
                </c:pt>
                <c:pt idx="63">
                  <c:v>Gillette Mach 3 Blade Refills 15 Pack</c:v>
                </c:pt>
                <c:pt idx="64">
                  <c:v>Gillette Mach 3 Sensitive Skin Disposable Razors 6 Pack</c:v>
                </c:pt>
                <c:pt idx="65">
                  <c:v>Gillette Sensor 2 Pivot Head Disposable Razors 25 Pack</c:v>
                </c:pt>
              </c:strCache>
            </c:strRef>
          </c:cat>
          <c:val>
            <c:numRef>
              <c:f>Sheet1!$B$2:$B$67</c:f>
              <c:numCache>
                <c:formatCode>General</c:formatCode>
                <c:ptCount val="66"/>
                <c:pt idx="0">
                  <c:v>0.20436250221896654</c:v>
                </c:pt>
                <c:pt idx="1">
                  <c:v>0.11288812954498902</c:v>
                </c:pt>
                <c:pt idx="2">
                  <c:v>0.1027811338166058</c:v>
                </c:pt>
                <c:pt idx="3">
                  <c:v>0.10247023071097995</c:v>
                </c:pt>
                <c:pt idx="4">
                  <c:v>0.08862068616621147</c:v>
                </c:pt>
                <c:pt idx="5">
                  <c:v>0.06652830583501125</c:v>
                </c:pt>
                <c:pt idx="6">
                  <c:v>0.054881352251421746</c:v>
                </c:pt>
                <c:pt idx="7">
                  <c:v>0.05386869440470117</c:v>
                </c:pt>
                <c:pt idx="8">
                  <c:v>0.05382310684372314</c:v>
                </c:pt>
                <c:pt idx="9">
                  <c:v>0.04866056561307131</c:v>
                </c:pt>
                <c:pt idx="10">
                  <c:v>0.044323004776600776</c:v>
                </c:pt>
                <c:pt idx="11">
                  <c:v>0.04381187546800292</c:v>
                </c:pt>
                <c:pt idx="12">
                  <c:v>0.039387375141881925</c:v>
                </c:pt>
                <c:pt idx="13">
                  <c:v>0.03783629668929044</c:v>
                </c:pt>
                <c:pt idx="14">
                  <c:v>0.03567889318755553</c:v>
                </c:pt>
                <c:pt idx="15">
                  <c:v>0.03479777101976793</c:v>
                </c:pt>
                <c:pt idx="16">
                  <c:v>0.030286150115039195</c:v>
                </c:pt>
                <c:pt idx="17">
                  <c:v>0.028956592459882247</c:v>
                </c:pt>
                <c:pt idx="18">
                  <c:v>0.028132630696073947</c:v>
                </c:pt>
                <c:pt idx="19">
                  <c:v>0.02692219844550888</c:v>
                </c:pt>
                <c:pt idx="20">
                  <c:v>0.025915467411328174</c:v>
                </c:pt>
                <c:pt idx="21">
                  <c:v>0.02500593157751982</c:v>
                </c:pt>
                <c:pt idx="22">
                  <c:v>0.024882632260798124</c:v>
                </c:pt>
                <c:pt idx="23">
                  <c:v>0.024869211227075288</c:v>
                </c:pt>
                <c:pt idx="24">
                  <c:v>0.022847404179420605</c:v>
                </c:pt>
                <c:pt idx="25">
                  <c:v>0.021575651236311888</c:v>
                </c:pt>
                <c:pt idx="26">
                  <c:v>0.02153549805929344</c:v>
                </c:pt>
                <c:pt idx="27">
                  <c:v>0.021151699737723725</c:v>
                </c:pt>
                <c:pt idx="28">
                  <c:v>0.02097979704990398</c:v>
                </c:pt>
                <c:pt idx="29">
                  <c:v>0.020834000411374936</c:v>
                </c:pt>
                <c:pt idx="30">
                  <c:v>0.0207985797363296</c:v>
                </c:pt>
                <c:pt idx="31">
                  <c:v>0.02025813933232051</c:v>
                </c:pt>
                <c:pt idx="32">
                  <c:v>0.01985825227882527</c:v>
                </c:pt>
                <c:pt idx="33">
                  <c:v>0.019026593344343798</c:v>
                </c:pt>
                <c:pt idx="34">
                  <c:v>0.01871721955943731</c:v>
                </c:pt>
                <c:pt idx="35">
                  <c:v>0.018633449943134657</c:v>
                </c:pt>
                <c:pt idx="36">
                  <c:v>0.01859485400310756</c:v>
                </c:pt>
                <c:pt idx="37">
                  <c:v>0.01824756318910524</c:v>
                </c:pt>
                <c:pt idx="38">
                  <c:v>0.018002082224661584</c:v>
                </c:pt>
                <c:pt idx="39">
                  <c:v>0.017901673276605863</c:v>
                </c:pt>
                <c:pt idx="40">
                  <c:v>0.017581026057214955</c:v>
                </c:pt>
                <c:pt idx="41">
                  <c:v>0.016700768644690438</c:v>
                </c:pt>
                <c:pt idx="42">
                  <c:v>0.01635601083769571</c:v>
                </c:pt>
                <c:pt idx="43">
                  <c:v>0.01576319352265936</c:v>
                </c:pt>
                <c:pt idx="44">
                  <c:v>0.015696539313958993</c:v>
                </c:pt>
                <c:pt idx="45">
                  <c:v>0.015689001396178143</c:v>
                </c:pt>
                <c:pt idx="46">
                  <c:v>0.015661053295925733</c:v>
                </c:pt>
                <c:pt idx="47">
                  <c:v>0.015528492126501155</c:v>
                </c:pt>
                <c:pt idx="48">
                  <c:v>0.015431784490739472</c:v>
                </c:pt>
                <c:pt idx="49">
                  <c:v>0.015329874176046563</c:v>
                </c:pt>
                <c:pt idx="50">
                  <c:v>0.01387774693214171</c:v>
                </c:pt>
                <c:pt idx="51">
                  <c:v>0.013838487422968686</c:v>
                </c:pt>
                <c:pt idx="52">
                  <c:v>0.013586329904848139</c:v>
                </c:pt>
                <c:pt idx="53">
                  <c:v>0.0135560505225469</c:v>
                </c:pt>
                <c:pt idx="54">
                  <c:v>0.01307391454117202</c:v>
                </c:pt>
                <c:pt idx="55">
                  <c:v>0.012739857015300922</c:v>
                </c:pt>
                <c:pt idx="56">
                  <c:v>0.01248478587796818</c:v>
                </c:pt>
                <c:pt idx="57">
                  <c:v>0.0123870343809993</c:v>
                </c:pt>
                <c:pt idx="58">
                  <c:v>0.011782545497974367</c:v>
                </c:pt>
                <c:pt idx="59">
                  <c:v>0.010495553145990561</c:v>
                </c:pt>
                <c:pt idx="60">
                  <c:v>0.009440996311866854</c:v>
                </c:pt>
                <c:pt idx="61">
                  <c:v>0.009171735213028087</c:v>
                </c:pt>
                <c:pt idx="62">
                  <c:v>0.00891257262642296</c:v>
                </c:pt>
                <c:pt idx="63">
                  <c:v>0.00875809810790071</c:v>
                </c:pt>
                <c:pt idx="64">
                  <c:v>0.008753961933526016</c:v>
                </c:pt>
                <c:pt idx="65">
                  <c:v>0.0087493912598272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19/0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0</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37E13843-85DD-499F-B752-681F6384D798}" type="slidenum">
              <a:rPr lang="en-CH" smtClean="0"/>
              <a:t>15</a:t>
            </a:fld>
            <a:endParaRPr lang="en-CH"/>
          </a:p>
        </p:txBody>
      </p:sp>
    </p:spTree>
    <p:extLst>
      <p:ext uri="{BB962C8B-B14F-4D97-AF65-F5344CB8AC3E}">
        <p14:creationId xmlns:p14="http://schemas.microsoft.com/office/powerpoint/2010/main" val="17001270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37E13843-85DD-499F-B752-681F6384D798}" type="slidenum">
              <a:rPr lang="en-CH" smtClean="0"/>
              <a:t>20</a:t>
            </a:fld>
            <a:endParaRPr lang="en-CH"/>
          </a:p>
        </p:txBody>
      </p:sp>
    </p:spTree>
    <p:extLst>
      <p:ext uri="{BB962C8B-B14F-4D97-AF65-F5344CB8AC3E}">
        <p14:creationId xmlns:p14="http://schemas.microsoft.com/office/powerpoint/2010/main" val="17001270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2</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3</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4</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5</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6</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7</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8</a:t>
            </a:fld>
            <a:endParaRPr lang="en-US"/>
          </a:p>
        </p:txBody>
      </p:sp>
    </p:spTree>
    <p:extLst>
      <p:ext uri="{BB962C8B-B14F-4D97-AF65-F5344CB8AC3E}">
        <p14:creationId xmlns:p14="http://schemas.microsoft.com/office/powerpoint/2010/main" val="2614024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9</a:t>
            </a:fld>
            <a:endParaRPr lang="en-US"/>
          </a:p>
        </p:txBody>
      </p:sp>
    </p:spTree>
    <p:extLst>
      <p:ext uri="{BB962C8B-B14F-4D97-AF65-F5344CB8AC3E}">
        <p14:creationId xmlns:p14="http://schemas.microsoft.com/office/powerpoint/2010/main" val="26140249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9/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9/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9/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9/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9/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9/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9/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9/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xml"/><Relationship Id="rId6" Type="http://schemas.openxmlformats.org/officeDocument/2006/relationships/chart" Target="../charts/chart2.xml"/><Relationship Id="rId7" Type="http://schemas.openxmlformats.org/officeDocument/2006/relationships/chart" Target="../charts/chart3.xml"/><Relationship Id="rId8" Type="http://schemas.openxmlformats.org/officeDocument/2006/relationships/chart" Target="../charts/chart4.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xml"/><Relationship Id="rId6" Type="http://schemas.openxmlformats.org/officeDocument/2006/relationships/chart" Target="../charts/chart6.xml"/><Relationship Id="rId7" Type="http://schemas.openxmlformats.org/officeDocument/2006/relationships/chart" Target="../charts/chart7.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xml"/><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3.xml"/><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6.xml"/><Relationship Id="rId6" Type="http://schemas.openxmlformats.org/officeDocument/2006/relationships/chart" Target="../charts/chart17.xml"/><Relationship Id="rId7" Type="http://schemas.openxmlformats.org/officeDocument/2006/relationships/chart" Target="../charts/chart1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xml"/><Relationship Id="rId6" Type="http://schemas.openxmlformats.org/officeDocument/2006/relationships/chart" Target="../charts/chart20.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xml"/><Relationship Id="rId6" Type="http://schemas.openxmlformats.org/officeDocument/2006/relationships/chart" Target="../charts/chart22.xml"/><Relationship Id="rId7" Type="http://schemas.openxmlformats.org/officeDocument/2006/relationships/chart" Target="../charts/chart23.xml"/><Relationship Id="rId8" Type="http://schemas.openxmlformats.org/officeDocument/2006/relationships/chart" Target="../charts/chart2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xml"/><Relationship Id="rId6" Type="http://schemas.openxmlformats.org/officeDocument/2006/relationships/chart" Target="../charts/chart26.xml"/><Relationship Id="rId7" Type="http://schemas.openxmlformats.org/officeDocument/2006/relationships/chart" Target="../charts/chart27.xml"/><Relationship Id="rId8" Type="http://schemas.openxmlformats.org/officeDocument/2006/relationships/chart" Target="../charts/chart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8.bin"/><Relationship Id="rId5" Type="http://schemas.openxmlformats.org/officeDocument/2006/relationships/image" Target="../media/image28.emf"/><Relationship Id="rId6" Type="http://schemas.openxmlformats.org/officeDocument/2006/relationships/chart" Target="../charts/chart29.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0.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1.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2.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3.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4.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5.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7.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8.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9.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0.xml"/><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4.xml"/><Relationship Id="rId6" Type="http://schemas.openxmlformats.org/officeDocument/2006/relationships/chart" Target="../charts/chart45.xml"/><Relationship Id="rId7" Type="http://schemas.openxmlformats.org/officeDocument/2006/relationships/chart" Target="../charts/chart4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47.xml"/><Relationship Id="rId6" Type="http://schemas.openxmlformats.org/officeDocument/2006/relationships/chart" Target="../charts/chart48.xml"/><Relationship Id="rId7" Type="http://schemas.openxmlformats.org/officeDocument/2006/relationships/chart" Target="../charts/chart49.xml"/><Relationship Id="rId8" Type="http://schemas.openxmlformats.org/officeDocument/2006/relationships/chart" Target="../charts/chart50.xml"/><Relationship Id="rId9" Type="http://schemas.openxmlformats.org/officeDocument/2006/relationships/chart" Target="../charts/chart51.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2.xml"/><Relationship Id="rId6" Type="http://schemas.openxmlformats.org/officeDocument/2006/relationships/chart" Target="../charts/chart53.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4.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5.xml"/><Relationship Id="rId6" Type="http://schemas.openxmlformats.org/officeDocument/2006/relationships/chart" Target="../charts/chart56.xml"/><Relationship Id="rId7" Type="http://schemas.openxmlformats.org/officeDocument/2006/relationships/chart" Target="../charts/chart57.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58.xml"/><Relationship Id="rId6" Type="http://schemas.openxmlformats.org/officeDocument/2006/relationships/chart" Target="../charts/chart59.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0.xml"/><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4.xml"/><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6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Blades Inno (1)</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871140">
                <a:tc>
                  <a:txBody>
                    <a:bodyPr/>
                    <a:lstStyle/>
                    <a:p>
                      <a:pPr algn="ctr">
                        <a:defRPr sz="800">
                          <a:latin typeface="Nexa Book"/>
                        </a:defRPr>
                      </a:pPr>
                      <a:r>
                        <a:rPr sz="700"/>
                        <a:t>Schick Hydro 3 Blade Pro Sensitive Refills 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7.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6.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871140">
                <a:tc>
                  <a:txBody>
                    <a:bodyPr/>
                    <a:lstStyle/>
                    <a:p>
                      <a:pPr algn="ctr">
                        <a:defRPr sz="800">
                          <a:latin typeface="Nexa Book"/>
                        </a:defRPr>
                      </a:pPr>
                      <a:r>
                        <a:rPr sz="700"/>
                        <a:t>Schick Hydro 5 Blade Sensitive Refills 4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8.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7.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2.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86.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871140">
                <a:tc>
                  <a:txBody>
                    <a:bodyPr/>
                    <a:lstStyle/>
                    <a:p>
                      <a:pPr algn="ctr">
                        <a:defRPr sz="800">
                          <a:latin typeface="Nexa Book"/>
                        </a:defRPr>
                      </a:pPr>
                      <a:r>
                        <a:rPr sz="700"/>
                        <a:t>Schick Quattro Four Blade Refills 3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12.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5.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871140">
                <a:tc>
                  <a:txBody>
                    <a:bodyPr/>
                    <a:lstStyle/>
                    <a:p>
                      <a:pPr algn="ctr">
                        <a:defRPr sz="800">
                          <a:latin typeface="Nexa Book"/>
                        </a:defRPr>
                      </a:pPr>
                      <a:r>
                        <a:rPr sz="700"/>
                        <a:t>Schick Quattro Four Blade Refills 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12.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5.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9063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Wilkinson Sword</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0</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3484560">
                <a:tc>
                  <a:txBody>
                    <a:bodyPr/>
                    <a:lstStyle/>
                    <a:p>
                      <a:pPr algn="ctr">
                        <a:defRPr sz="800">
                          <a:latin typeface="Nexa Book"/>
                        </a:defRPr>
                      </a:pPr>
                      <a:r>
                        <a:rPr sz="700"/>
                        <a:t>Wilkinson Sword Classic Double Edge 1 Handle + 5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26.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7.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41868667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lades Inno (1)</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E1B14A4-23FE-9DAB-6653-F6663D39C3E0}"/>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10158188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lades Inno (2)</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CC61880-47D6-CB5C-6171-45BD1D2F62BB}"/>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7528931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6D17-0204-985D-6A70-116A6E934AE6}"/>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EE7F90C-9F97-5594-A911-ECEA7C730AEC}"/>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5EE7F90C-9F97-5594-A911-ECEA7C730AEC}"/>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7BAB919-494E-1FE9-8FAB-124952B63D9B}"/>
              </a:ext>
            </a:extLst>
          </p:cNvPr>
          <p:cNvGraphicFramePr>
            <a:graphicFrameLocks/>
          </p:cNvGraphicFramePr>
          <p:nvPr>
            <p:extLst>
              <p:ext uri="{D42A27DB-BD31-4B8C-83A1-F6EECF244321}">
                <p14:modId xmlns:p14="http://schemas.microsoft.com/office/powerpoint/2010/main" val="1663001161"/>
              </p:ext>
            </p:extLst>
          </p:nvPr>
        </p:nvGraphicFramePr>
        <p:xfrm>
          <a:off x="2613976" y="1216203"/>
          <a:ext cx="5670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F52C7AC1-8697-839F-DDBE-520E2492333E}"/>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E91ED5B3-5363-68B2-F5F4-F3F50DFC317C}"/>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B446F02A-0905-5583-CE9A-E1FF13CAA44D}"/>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0" name="Content Placeholder 9">
            <a:extLst>
              <a:ext uri="{FF2B5EF4-FFF2-40B4-BE49-F238E27FC236}">
                <a16:creationId xmlns:a16="http://schemas.microsoft.com/office/drawing/2014/main" id="{B7277368-DF74-3D42-6230-C2AF1CBE38AC}"/>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56DE4AE1-DA46-77B8-EB09-68968217E090}"/>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Dispo Inno (1)</a:t>
            </a:r>
          </a:p>
        </p:txBody>
      </p:sp>
      <p:sp>
        <p:nvSpPr>
          <p:cNvPr id="8" name="Title 7">
            <a:extLst>
              <a:ext uri="{FF2B5EF4-FFF2-40B4-BE49-F238E27FC236}">
                <a16:creationId xmlns:a16="http://schemas.microsoft.com/office/drawing/2014/main" id="{42834856-5381-8675-D655-3D3476335BF5}"/>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38870FA4-D10C-11E0-34A5-F90193507D0F}"/>
              </a:ext>
            </a:extLst>
          </p:cNvPr>
          <p:cNvGraphicFramePr>
            <a:graphicFrameLocks/>
          </p:cNvGraphicFramePr>
          <p:nvPr>
            <p:extLst>
              <p:ext uri="{D42A27DB-BD31-4B8C-83A1-F6EECF244321}">
                <p14:modId xmlns:p14="http://schemas.microsoft.com/office/powerpoint/2010/main" val="2342562657"/>
              </p:ext>
            </p:extLst>
          </p:nvPr>
        </p:nvGraphicFramePr>
        <p:xfrm>
          <a:off x="2613976" y="3982633"/>
          <a:ext cx="5670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F1845FA-3F71-BC20-C13F-4249C341E377}"/>
              </a:ext>
            </a:extLst>
          </p:cNvPr>
          <p:cNvGraphicFramePr>
            <a:graphicFrameLocks/>
          </p:cNvGraphicFramePr>
          <p:nvPr>
            <p:extLst>
              <p:ext uri="{D42A27DB-BD31-4B8C-83A1-F6EECF244321}">
                <p14:modId xmlns:p14="http://schemas.microsoft.com/office/powerpoint/2010/main" val="3412502652"/>
              </p:ext>
            </p:extLst>
          </p:nvPr>
        </p:nvGraphicFramePr>
        <p:xfrm>
          <a:off x="2613976" y="1907811"/>
          <a:ext cx="5670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01429D0A-90BF-AF27-012B-06F829A1D74D}"/>
              </a:ext>
            </a:extLst>
          </p:cNvPr>
          <p:cNvGraphicFramePr>
            <a:graphicFrameLocks/>
          </p:cNvGraphicFramePr>
          <p:nvPr>
            <p:extLst>
              <p:ext uri="{D42A27DB-BD31-4B8C-83A1-F6EECF244321}">
                <p14:modId xmlns:p14="http://schemas.microsoft.com/office/powerpoint/2010/main" val="1020182936"/>
              </p:ext>
            </p:extLst>
          </p:nvPr>
        </p:nvGraphicFramePr>
        <p:xfrm>
          <a:off x="2613976" y="2599419"/>
          <a:ext cx="5670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2">
            <a:extLst>
              <a:ext uri="{FF2B5EF4-FFF2-40B4-BE49-F238E27FC236}">
                <a16:creationId xmlns:a16="http://schemas.microsoft.com/office/drawing/2014/main" id="{CF817484-4FCA-AF97-0A69-83C1EA8D202C}"/>
              </a:ext>
            </a:extLst>
          </p:cNvPr>
          <p:cNvGraphicFramePr>
            <a:graphicFrameLocks/>
          </p:cNvGraphicFramePr>
          <p:nvPr>
            <p:extLst>
              <p:ext uri="{D42A27DB-BD31-4B8C-83A1-F6EECF244321}">
                <p14:modId xmlns:p14="http://schemas.microsoft.com/office/powerpoint/2010/main" val="1168962503"/>
              </p:ext>
            </p:extLst>
          </p:nvPr>
        </p:nvGraphicFramePr>
        <p:xfrm>
          <a:off x="2613976" y="3291027"/>
          <a:ext cx="5670000" cy="648000"/>
        </p:xfrm>
        <a:graphic>
          <a:graphicData uri="http://schemas.openxmlformats.org/drawingml/2006/chart">
            <c:chart xmlns:c="http://schemas.openxmlformats.org/drawingml/2006/chart" xmlns:r="http://schemas.openxmlformats.org/officeDocument/2006/relationships" r:id="rId9"/>
          </a:graphicData>
        </a:graphic>
      </p:graphicFrame>
      <p:sp>
        <p:nvSpPr>
          <p:cNvPr id="6" name="TB5">
            <a:extLst>
              <a:ext uri="{FF2B5EF4-FFF2-40B4-BE49-F238E27FC236}">
                <a16:creationId xmlns:a16="http://schemas.microsoft.com/office/drawing/2014/main" id="{15CF8251-A22B-2890-F475-CA5CC39C5F9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E90C0D9F-74CB-3EDE-F4EF-ED685F0934DB}"/>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0FE41F-F4DB-491D-DF6A-A2609B67DECB}"/>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90BABC3B-0054-66FB-EC7F-6B54066BA6CF}"/>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5975398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2037742566"/>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Dispo Inno (2)</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2773981971"/>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4BFD87F-56C5-354A-8E8F-386FE7A9E82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06A9BB13-BB5F-3DBB-C3D9-0D39A57AD98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27688423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endParaRPr lang="en-US" noProof="0" dirty="0">
              <a:solidFill>
                <a:srgbClr val="FF0000"/>
              </a:solidFill>
            </a:endParaRP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Equate Blades Inno</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9" name="TextBox 8">
            <a:extLst>
              <a:ext uri="{FF2B5EF4-FFF2-40B4-BE49-F238E27FC236}">
                <a16:creationId xmlns:a16="http://schemas.microsoft.com/office/drawing/2014/main" id="{25625760-26AA-518B-1E4F-7E7D950DCC4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7921471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Equate Dispo Inno</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CC61880-47D6-CB5C-6171-45BD1D2F62BB}"/>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42435753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D4330-F24E-B54A-A80B-45C843E545E2}"/>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71F61A1-D46B-60DE-CDA2-6DA9FA69F59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D71F61A1-D46B-60DE-CDA2-6DA9FA69F593}"/>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31558EF-F323-693A-C837-37B2F27F4C5C}"/>
              </a:ext>
            </a:extLst>
          </p:cNvPr>
          <p:cNvGraphicFramePr>
            <a:graphicFrameLocks/>
          </p:cNvGraphicFramePr>
          <p:nvPr>
            <p:extLst>
              <p:ext uri="{D42A27DB-BD31-4B8C-83A1-F6EECF244321}">
                <p14:modId xmlns:p14="http://schemas.microsoft.com/office/powerpoint/2010/main" val="2037742566"/>
              </p:ext>
            </p:extLst>
          </p:nvPr>
        </p:nvGraphicFramePr>
        <p:xfrm>
          <a:off x="2613976" y="1131888"/>
          <a:ext cx="5670000" cy="17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E9855EE0-200A-9C46-92E1-CC5F97071499}"/>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548A4EA-EBAC-DF1A-81BC-B5EEB2AA6B5D}"/>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08D280CC-5963-F773-F795-60AD1DF39C1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10" name="Content Placeholder 9">
            <a:extLst>
              <a:ext uri="{FF2B5EF4-FFF2-40B4-BE49-F238E27FC236}">
                <a16:creationId xmlns:a16="http://schemas.microsoft.com/office/drawing/2014/main" id="{9C31B5AE-EC5D-4FF6-FA9A-ED02100F81A9}"/>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82AA7EDB-0442-1D93-B85E-6D0899153B56}"/>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Equate Razor Inno</a:t>
            </a:r>
          </a:p>
        </p:txBody>
      </p:sp>
      <p:sp>
        <p:nvSpPr>
          <p:cNvPr id="8" name="Title 7">
            <a:extLst>
              <a:ext uri="{FF2B5EF4-FFF2-40B4-BE49-F238E27FC236}">
                <a16:creationId xmlns:a16="http://schemas.microsoft.com/office/drawing/2014/main" id="{0C5AE0D8-6E7C-6DEB-E156-931C334E316B}"/>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0D641A0F-8381-A31E-C499-811BC0EA2A05}"/>
              </a:ext>
            </a:extLst>
          </p:cNvPr>
          <p:cNvGraphicFramePr>
            <a:graphicFrameLocks/>
          </p:cNvGraphicFramePr>
          <p:nvPr>
            <p:extLst>
              <p:ext uri="{D42A27DB-BD31-4B8C-83A1-F6EECF244321}">
                <p14:modId xmlns:p14="http://schemas.microsoft.com/office/powerpoint/2010/main" val="2773981971"/>
              </p:ext>
            </p:extLst>
          </p:nvPr>
        </p:nvGraphicFramePr>
        <p:xfrm>
          <a:off x="2613976" y="2964741"/>
          <a:ext cx="5670000" cy="1764000"/>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E8972F00-7BB9-669E-1FF7-8F871A327FB7}"/>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BB31FB27-0FC4-6247-CFB0-92101147EE74}"/>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84BFD87F-56C5-354A-8E8F-386FE7A9E82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15" name="TextBox 14">
            <a:extLst>
              <a:ext uri="{FF2B5EF4-FFF2-40B4-BE49-F238E27FC236}">
                <a16:creationId xmlns:a16="http://schemas.microsoft.com/office/drawing/2014/main" id="{06A9BB13-BB5F-3DBB-C3D9-0D39A57AD98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2009862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Razor Inno (1)</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E1B14A4-23FE-9DAB-6653-F6663D39C3E0}"/>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9885614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endParaRPr lang="en-US" noProof="0" dirty="0">
              <a:solidFill>
                <a:srgbClr val="FF0000"/>
              </a:solidFill>
            </a:endParaRP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Razor Inno (2)</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7" name="TextBox 6">
            <a:extLst>
              <a:ext uri="{FF2B5EF4-FFF2-40B4-BE49-F238E27FC236}">
                <a16:creationId xmlns:a16="http://schemas.microsoft.com/office/drawing/2014/main" id="{FE1B14A4-23FE-9DAB-6653-F6663D39C3E0}"/>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34568301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Blades Inno (2)</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2</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161520">
                <a:tc>
                  <a:txBody>
                    <a:bodyPr/>
                    <a:lstStyle/>
                    <a:p>
                      <a:pPr algn="ctr">
                        <a:defRPr sz="800">
                          <a:latin typeface="Nexa Book"/>
                        </a:defRPr>
                      </a:pPr>
                      <a:r>
                        <a:rPr sz="700"/>
                        <a:t>Schick Hydro 3 Blade Ingrown Defense Refills 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0.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0.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161520">
                <a:tc>
                  <a:txBody>
                    <a:bodyPr/>
                    <a:lstStyle/>
                    <a:p>
                      <a:pPr algn="ctr">
                        <a:defRPr sz="800">
                          <a:latin typeface="Nexa Book"/>
                        </a:defRPr>
                      </a:pPr>
                      <a:r>
                        <a:rPr sz="700"/>
                        <a:t>Schick Hydro 5 Blade Advanced Hydration Refills 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62.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161520">
                <a:tc>
                  <a:txBody>
                    <a:bodyPr/>
                    <a:lstStyle/>
                    <a:p>
                      <a:pPr algn="ctr">
                        <a:defRPr sz="800">
                          <a:latin typeface="Nexa Book"/>
                        </a:defRPr>
                      </a:pPr>
                      <a:r>
                        <a:rPr sz="700"/>
                        <a:t>Schick Hydro 5 Blade Chrome Refills 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6.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8.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35036420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8/19/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endParaRPr lang="en-US" noProof="0" dirty="0">
              <a:solidFill>
                <a:srgbClr val="FF0000"/>
              </a:solidFill>
            </a:endParaRP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Wilkinson Sword</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6"/>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
        <p:nvSpPr>
          <p:cNvPr id="9" name="TextBox 8">
            <a:extLst>
              <a:ext uri="{FF2B5EF4-FFF2-40B4-BE49-F238E27FC236}">
                <a16:creationId xmlns:a16="http://schemas.microsoft.com/office/drawing/2014/main" id="{25625760-26AA-518B-1E4F-7E7D950DCC41}"/>
              </a:ext>
            </a:extLst>
          </p:cNvPr>
          <p:cNvSpPr txBox="1"/>
          <p:nvPr/>
        </p:nvSpPr>
        <p:spPr>
          <a:xfrm>
            <a:off x="2808336" y="4895194"/>
            <a:ext cx="1929008" cy="402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algn="ctr"/>
            <a:r>
              <a:rPr lang="en-US" sz="600" dirty="0">
                <a:solidFill>
                  <a:srgbClr val="FF0000"/>
                </a:solidFill>
              </a:rPr>
              <a:t>Normalized with WD (WD = 100 for all)</a:t>
            </a:r>
          </a:p>
          <a:p>
            <a:pPr algn="ctr"/>
            <a:endParaRPr lang="en-CH" sz="600" dirty="0">
              <a:solidFill>
                <a:schemeClr val="tx1"/>
              </a:solidFill>
            </a:endParaRPr>
          </a:p>
        </p:txBody>
      </p:sp>
    </p:spTree>
    <p:extLst>
      <p:ext uri="{BB962C8B-B14F-4D97-AF65-F5344CB8AC3E}">
        <p14:creationId xmlns:p14="http://schemas.microsoft.com/office/powerpoint/2010/main" val="14153189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lades Inno (1)</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13%</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13%</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2.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6169467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lades Inno (2)</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63%</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6%</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3.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1338684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Dispo Inno (1)</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402936">
                  <a:extLst>
                    <a:ext uri="{9D8B030D-6E8A-4147-A177-3AD203B41FA5}">
                      <a16:colId xmlns:a16="http://schemas.microsoft.com/office/drawing/2014/main" val="4292788590"/>
                    </a:ext>
                  </a:extLst>
                </a:gridCol>
                <a:gridCol w="1402936">
                  <a:extLst>
                    <a:ext uri="{9D8B030D-6E8A-4147-A177-3AD203B41FA5}">
                      <a16:colId xmlns:a16="http://schemas.microsoft.com/office/drawing/2014/main" val="401539003"/>
                    </a:ext>
                  </a:extLst>
                </a:gridCol>
                <a:gridCol w="1402936">
                  <a:extLst>
                    <a:ext uri="{9D8B030D-6E8A-4147-A177-3AD203B41FA5}">
                      <a16:colId xmlns:a16="http://schemas.microsoft.com/office/drawing/2014/main" val="138763722"/>
                    </a:ext>
                  </a:extLst>
                </a:gridCol>
                <a:gridCol w="1402936">
                  <a:extLst>
                    <a:ext uri="{9D8B030D-6E8A-4147-A177-3AD203B41FA5}">
                      <a16:colId xmlns:a16="http://schemas.microsoft.com/office/drawing/2014/main" val="2633844746"/>
                    </a:ext>
                  </a:extLst>
                </a:gridCol>
                <a:gridCol w="1402936">
                  <a:extLst>
                    <a:ext uri="{9D8B030D-6E8A-4147-A177-3AD203B41FA5}">
                      <a16:colId xmlns:a16="http://schemas.microsoft.com/office/drawing/2014/main" val="259526935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4%</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5%</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5.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3.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1293672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Dispo Inno (2)</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3507339">
                  <a:extLst>
                    <a:ext uri="{9D8B030D-6E8A-4147-A177-3AD203B41FA5}">
                      <a16:colId xmlns:a16="http://schemas.microsoft.com/office/drawing/2014/main" val="4292788590"/>
                    </a:ext>
                  </a:extLst>
                </a:gridCol>
                <a:gridCol w="3507339">
                  <a:extLst>
                    <a:ext uri="{9D8B030D-6E8A-4147-A177-3AD203B41FA5}">
                      <a16:colId xmlns:a16="http://schemas.microsoft.com/office/drawing/2014/main" val="401539003"/>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5%</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7946853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Equate Blades Inno</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827484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Equate Dispo Inno</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7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5%</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98.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0051785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Equate Razor Inno</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3507339">
                  <a:extLst>
                    <a:ext uri="{9D8B030D-6E8A-4147-A177-3AD203B41FA5}">
                      <a16:colId xmlns:a16="http://schemas.microsoft.com/office/drawing/2014/main" val="4292788590"/>
                    </a:ext>
                  </a:extLst>
                </a:gridCol>
                <a:gridCol w="3507339">
                  <a:extLst>
                    <a:ext uri="{9D8B030D-6E8A-4147-A177-3AD203B41FA5}">
                      <a16:colId xmlns:a16="http://schemas.microsoft.com/office/drawing/2014/main" val="401539003"/>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1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4557837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Razor Inno (1)</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5%</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2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4%</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5%</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3.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3.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5.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5.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6603822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Razor Inno (2)</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3%</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2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23%</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2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6.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9.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7.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1.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235043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Dispo Inno (1)</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3</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696912">
                <a:tc>
                  <a:txBody>
                    <a:bodyPr/>
                    <a:lstStyle/>
                    <a:p>
                      <a:pPr algn="ctr">
                        <a:defRPr sz="800">
                          <a:latin typeface="Nexa Book"/>
                        </a:defRPr>
                      </a:pPr>
                      <a:r>
                        <a:rPr sz="700"/>
                        <a:t>Schick Xtreme 2 Sensitive Disposable Razors 24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7.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5.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4.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696912">
                <a:tc>
                  <a:txBody>
                    <a:bodyPr/>
                    <a:lstStyle/>
                    <a:p>
                      <a:pPr algn="ctr">
                        <a:defRPr sz="800">
                          <a:latin typeface="Nexa Book"/>
                        </a:defRPr>
                      </a:pPr>
                      <a:r>
                        <a:rPr sz="700"/>
                        <a:t>Schick Xtreme 5 Sensitive Disposable Razors 4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1.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5.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696912">
                <a:tc>
                  <a:txBody>
                    <a:bodyPr/>
                    <a:lstStyle/>
                    <a:p>
                      <a:pPr algn="ctr">
                        <a:defRPr sz="800">
                          <a:latin typeface="Nexa Book"/>
                        </a:defRPr>
                      </a:pPr>
                      <a:r>
                        <a:rPr sz="700"/>
                        <a:t>Schick Xtreme 5 Sensitive Disposable Razors 8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2.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6.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9.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696912">
                <a:tc>
                  <a:txBody>
                    <a:bodyPr/>
                    <a:lstStyle/>
                    <a:p>
                      <a:pPr algn="ctr">
                        <a:defRPr sz="800">
                          <a:latin typeface="Nexa Book"/>
                        </a:defRPr>
                      </a:pPr>
                      <a:r>
                        <a:rPr sz="700"/>
                        <a:t>Schick Xtreme 3 Body &amp; Groin Disposable Razors 3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8.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696912">
                <a:tc>
                  <a:txBody>
                    <a:bodyPr/>
                    <a:lstStyle/>
                    <a:p>
                      <a:pPr algn="ctr">
                        <a:defRPr sz="800">
                          <a:latin typeface="Nexa Book"/>
                        </a:defRPr>
                      </a:pPr>
                      <a:r>
                        <a:rPr sz="700"/>
                        <a:t>Schick Hydro 5 Ultimate Comfort Disposable Razors 3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3.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18327834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8/19/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Wilkinson Sword</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26%</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9</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6126957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lades Inno (1)</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3 Blade Pro Sensitive Refills 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Sensitive Refills 4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Quattro Four Blade Refills 3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Quattro Four Blade Refills 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Schick Hydro 5 Blade Sensitive Refills 6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7.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rry's Men Five Blade Refill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Gillette Mach 3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Gillette Fusion 5 Proglide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Gillette Fusion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Harry's Men Five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Equate Easy Fit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Schick Hydro 3 Blade Ultra Sensitive Refills 5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3.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Dollar Shave Club 6 Blades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Gillette Fusion 5 Proglide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Van Der Hagen Men Double Edge Blade Refills 1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817426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lades Inno (2)</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3 Blade Ingrown Defense Refills 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Advanced Hydration Refills 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Chrome Refills 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Schick Hydro 5 Blade Sensitive Refills 6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9.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8.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rry's Men Five Blade Refill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Schick Hydro 5 Blade Sensitive Refill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5.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8.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Gillette Mach 3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Schick Hydro 3 Blade Ultra Sensitive Refills 5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3.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Gillette Fusion 5 Proglide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Gillette Fusion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Harry's Men Five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Equate Easy Fit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Dollar Shave Club 6 Blades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Gillette Fusion 5 Proglide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804620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2F2B9-FCC3-51EC-1602-8F8CE9B70D66}"/>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33B0C29-CE52-EE2C-EA0D-4D64A3FA800A}"/>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533B0C29-CE52-EE2C-EA0D-4D64A3FA800A}"/>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E3B885DE-5812-A1FF-D5D5-AAE30C26AE0F}"/>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4CD7A7EA-97B1-EC24-D1EA-620139B1A1F3}"/>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7FF6827D-FEE7-E299-93A9-712D1CBBCE8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8" name="Text Placeholder 7">
            <a:extLst>
              <a:ext uri="{FF2B5EF4-FFF2-40B4-BE49-F238E27FC236}">
                <a16:creationId xmlns:a16="http://schemas.microsoft.com/office/drawing/2014/main" id="{42B4D939-5D3D-8B34-3B7D-18D1F39775DD}"/>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6F44156A-3756-5B46-9ED8-AE8DE089015E}"/>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Dispo Inno (1)</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5D9B850F-E121-A787-119C-8A937BBEF7AE}"/>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F1AB4E63-CA43-0DE4-2BCD-03CEFE08810A}"/>
              </a:ext>
            </a:extLst>
          </p:cNvPr>
          <p:cNvGraphicFramePr>
            <a:graphicFrameLocks noGrp="1"/>
          </p:cNvGraphicFramePr>
          <p:nvPr>
            <p:ph idx="4294967295"/>
            <p:extLst>
              <p:ext uri="{D42A27DB-BD31-4B8C-83A1-F6EECF244321}">
                <p14:modId xmlns:p14="http://schemas.microsoft.com/office/powerpoint/2010/main" val="3977227795"/>
              </p:ext>
            </p:extLst>
          </p:nvPr>
        </p:nvGraphicFramePr>
        <p:xfrm>
          <a:off x="513149" y="1127125"/>
          <a:ext cx="8103586" cy="3627480"/>
        </p:xfrm>
        <a:graphic>
          <a:graphicData uri="http://schemas.openxmlformats.org/drawingml/2006/table">
            <a:tbl>
              <a:tblPr firstRow="1" bandRow="1">
                <a:tableStyleId>{5C22544A-7EE6-4342-B048-85BDC9FD1C3A}</a:tableStyleId>
              </a:tblPr>
              <a:tblGrid>
                <a:gridCol w="1367176">
                  <a:extLst>
                    <a:ext uri="{9D8B030D-6E8A-4147-A177-3AD203B41FA5}">
                      <a16:colId xmlns:a16="http://schemas.microsoft.com/office/drawing/2014/main" val="721526330"/>
                    </a:ext>
                  </a:extLst>
                </a:gridCol>
                <a:gridCol w="1347282">
                  <a:extLst>
                    <a:ext uri="{9D8B030D-6E8A-4147-A177-3AD203B41FA5}">
                      <a16:colId xmlns:a16="http://schemas.microsoft.com/office/drawing/2014/main" val="1048155142"/>
                    </a:ext>
                  </a:extLst>
                </a:gridCol>
                <a:gridCol w="1347282">
                  <a:extLst>
                    <a:ext uri="{9D8B030D-6E8A-4147-A177-3AD203B41FA5}">
                      <a16:colId xmlns:a16="http://schemas.microsoft.com/office/drawing/2014/main" val="2226225783"/>
                    </a:ext>
                  </a:extLst>
                </a:gridCol>
                <a:gridCol w="1347282">
                  <a:extLst>
                    <a:ext uri="{9D8B030D-6E8A-4147-A177-3AD203B41FA5}">
                      <a16:colId xmlns:a16="http://schemas.microsoft.com/office/drawing/2014/main" val="2541288816"/>
                    </a:ext>
                  </a:extLst>
                </a:gridCol>
                <a:gridCol w="1347282">
                  <a:extLst>
                    <a:ext uri="{9D8B030D-6E8A-4147-A177-3AD203B41FA5}">
                      <a16:colId xmlns:a16="http://schemas.microsoft.com/office/drawing/2014/main" val="1505432836"/>
                    </a:ext>
                  </a:extLst>
                </a:gridCol>
                <a:gridCol w="1347282">
                  <a:extLst>
                    <a:ext uri="{9D8B030D-6E8A-4147-A177-3AD203B41FA5}">
                      <a16:colId xmlns:a16="http://schemas.microsoft.com/office/drawing/2014/main" val="4255120039"/>
                    </a:ext>
                  </a:extLst>
                </a:gridCol>
              </a:tblGrid>
              <a:tr h="52614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2 Sensitive Disposable Razors 24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5 Sensitive Disposable Razors 4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5 Sensitive Disposable Razors 8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3 Body &amp; Groin Disposable Razors 3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Ultimate Comfort Disposable Razors 3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1940">
                <a:tc>
                  <a:txBody>
                    <a:bodyPr/>
                    <a:lstStyle/>
                    <a:p>
                      <a:pPr algn="l">
                        <a:defRPr>
                          <a:latin typeface="Nexa Book"/>
                        </a:defRPr>
                      </a:pPr>
                      <a:r>
                        <a:rPr sz="700" b="0"/>
                        <a:t>Schick Xtreme 3 Sensitive Disposable Razor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1940">
                <a:tc>
                  <a:txBody>
                    <a:bodyPr/>
                    <a:lstStyle/>
                    <a:p>
                      <a:pPr algn="l">
                        <a:defRPr>
                          <a:latin typeface="Nexa Book"/>
                        </a:defRPr>
                      </a:pPr>
                      <a:r>
                        <a:rPr sz="700" b="0"/>
                        <a:t>Schick Xtreme 2 Sensitive Disposable Razors 12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6.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1940">
                <a:tc>
                  <a:txBody>
                    <a:bodyPr/>
                    <a:lstStyle/>
                    <a:p>
                      <a:pPr algn="l">
                        <a:defRPr>
                          <a:latin typeface="Nexa Book"/>
                        </a:defRPr>
                      </a:pPr>
                      <a:r>
                        <a:rPr sz="700" b="0"/>
                        <a:t>Schick Xtreme 3 Sensitive Disposable Razor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1940">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1940">
                <a:tc>
                  <a:txBody>
                    <a:bodyPr/>
                    <a:lstStyle/>
                    <a:p>
                      <a:pPr algn="l">
                        <a:defRPr>
                          <a:latin typeface="Nexa Book"/>
                        </a:defRPr>
                      </a:pPr>
                      <a:r>
                        <a:rPr sz="700" b="0"/>
                        <a:t>Schick Xtreme 3 Sensitive Disposable Razor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6.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5.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7.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1940">
                <a:tc>
                  <a:txBody>
                    <a:bodyPr/>
                    <a:lstStyle/>
                    <a:p>
                      <a:pPr algn="l">
                        <a:defRPr>
                          <a:latin typeface="Nexa Book"/>
                        </a:defRPr>
                      </a:pPr>
                      <a:r>
                        <a:rPr sz="700" b="0"/>
                        <a:t>Schick Hydro 5 Blade Sensitive 1 Handle + 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1940">
                <a:tc>
                  <a:txBody>
                    <a:bodyPr/>
                    <a:lstStyle/>
                    <a:p>
                      <a:pPr algn="l">
                        <a:defRPr>
                          <a:latin typeface="Nexa Book"/>
                        </a:defRPr>
                      </a:pPr>
                      <a:r>
                        <a:rPr sz="700" b="0"/>
                        <a:t>Gillette Sensor 2 Pivot Head Disposable Razor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1940">
                <a:tc>
                  <a:txBody>
                    <a:bodyPr/>
                    <a:lstStyle/>
                    <a:p>
                      <a:pPr algn="l">
                        <a:defRPr>
                          <a:latin typeface="Nexa Book"/>
                        </a:defRPr>
                      </a:pPr>
                      <a:r>
                        <a:rPr sz="700" b="0"/>
                        <a:t>Gillette Sensor 3 Sensitive Disposable Razor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1940">
                <a:tc>
                  <a:txBody>
                    <a:bodyPr/>
                    <a:lstStyle/>
                    <a:p>
                      <a:pPr algn="l">
                        <a:defRPr>
                          <a:latin typeface="Nexa Book"/>
                        </a:defRPr>
                      </a:pPr>
                      <a:r>
                        <a:rPr sz="700" b="0"/>
                        <a:t>Equate 2 Blade Disposable Razor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1940">
                <a:tc>
                  <a:txBody>
                    <a:bodyPr/>
                    <a:lstStyle/>
                    <a:p>
                      <a:pPr algn="l">
                        <a:defRPr>
                          <a:latin typeface="Nexa Book"/>
                        </a:defRPr>
                      </a:pPr>
                      <a:r>
                        <a:rPr sz="700" b="0"/>
                        <a:t>Schick Hydro 5 Blade Sensitive Refills 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1940">
                <a:tc>
                  <a:txBody>
                    <a:bodyPr/>
                    <a:lstStyle/>
                    <a:p>
                      <a:pPr algn="l">
                        <a:defRPr>
                          <a:latin typeface="Nexa Book"/>
                        </a:defRPr>
                      </a:pPr>
                      <a:r>
                        <a:rPr sz="700" b="0"/>
                        <a:t>Bic Men Sensitive Single Blade Disposable Razor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1B4E0230-70DF-FBB8-3C43-4A6E5E5C0DAB}"/>
              </a:ext>
            </a:extLst>
          </p:cNvPr>
          <p:cNvGraphicFramePr>
            <a:graphicFrameLocks/>
          </p:cNvGraphicFramePr>
          <p:nvPr>
            <p:extLst>
              <p:ext uri="{D42A27DB-BD31-4B8C-83A1-F6EECF244321}">
                <p14:modId xmlns:p14="http://schemas.microsoft.com/office/powerpoint/2010/main" val="3185406269"/>
              </p:ext>
            </p:extLst>
          </p:nvPr>
        </p:nvGraphicFramePr>
        <p:xfrm>
          <a:off x="1902137" y="1650206"/>
          <a:ext cx="1044000" cy="309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177BA88C-7FE0-133C-E7AA-CD3C0BA79FB5}"/>
              </a:ext>
            </a:extLst>
          </p:cNvPr>
          <p:cNvGraphicFramePr>
            <a:graphicFrameLocks/>
          </p:cNvGraphicFramePr>
          <p:nvPr>
            <p:extLst>
              <p:ext uri="{D42A27DB-BD31-4B8C-83A1-F6EECF244321}">
                <p14:modId xmlns:p14="http://schemas.microsoft.com/office/powerpoint/2010/main" val="3994772514"/>
              </p:ext>
            </p:extLst>
          </p:nvPr>
        </p:nvGraphicFramePr>
        <p:xfrm>
          <a:off x="3252376" y="1650206"/>
          <a:ext cx="1044000" cy="3096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A661148-19FC-4183-EB96-B643E1024B86}"/>
              </a:ext>
            </a:extLst>
          </p:cNvPr>
          <p:cNvGraphicFramePr>
            <a:graphicFrameLocks/>
          </p:cNvGraphicFramePr>
          <p:nvPr>
            <p:extLst>
              <p:ext uri="{D42A27DB-BD31-4B8C-83A1-F6EECF244321}">
                <p14:modId xmlns:p14="http://schemas.microsoft.com/office/powerpoint/2010/main" val="1569479149"/>
              </p:ext>
            </p:extLst>
          </p:nvPr>
        </p:nvGraphicFramePr>
        <p:xfrm>
          <a:off x="4602615" y="1650206"/>
          <a:ext cx="1044000" cy="3096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625DF3AB-9F99-8CBC-84D4-D7B525D854D3}"/>
              </a:ext>
            </a:extLst>
          </p:cNvPr>
          <p:cNvGraphicFramePr>
            <a:graphicFrameLocks/>
          </p:cNvGraphicFramePr>
          <p:nvPr>
            <p:extLst>
              <p:ext uri="{D42A27DB-BD31-4B8C-83A1-F6EECF244321}">
                <p14:modId xmlns:p14="http://schemas.microsoft.com/office/powerpoint/2010/main" val="2032456826"/>
              </p:ext>
            </p:extLst>
          </p:nvPr>
        </p:nvGraphicFramePr>
        <p:xfrm>
          <a:off x="5952854" y="1650206"/>
          <a:ext cx="1044000" cy="3096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 name="C3">
            <a:extLst>
              <a:ext uri="{FF2B5EF4-FFF2-40B4-BE49-F238E27FC236}">
                <a16:creationId xmlns:a16="http://schemas.microsoft.com/office/drawing/2014/main" id="{2E2410D1-ACAB-7F15-8422-1C631B4EF6C0}"/>
              </a:ext>
            </a:extLst>
          </p:cNvPr>
          <p:cNvGraphicFramePr>
            <a:graphicFrameLocks/>
          </p:cNvGraphicFramePr>
          <p:nvPr>
            <p:extLst>
              <p:ext uri="{D42A27DB-BD31-4B8C-83A1-F6EECF244321}">
                <p14:modId xmlns:p14="http://schemas.microsoft.com/office/powerpoint/2010/main" val="1793043530"/>
              </p:ext>
            </p:extLst>
          </p:nvPr>
        </p:nvGraphicFramePr>
        <p:xfrm>
          <a:off x="7303093" y="1650206"/>
          <a:ext cx="1044000" cy="3096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239508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Dispo Inno (2)</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4238443762"/>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Xtreme 5 Sensitive Disposable Razors 2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First 4 Blade Disposable Razors 3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algn="l">
                        <a:defRPr>
                          <a:latin typeface="Nexa Book"/>
                        </a:defRPr>
                      </a:pPr>
                      <a:r>
                        <a:rPr sz="700" b="0"/>
                        <a:t>Schick Xtreme 3 Sensitive Disposable Razor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algn="l">
                        <a:defRPr>
                          <a:latin typeface="Nexa Book"/>
                        </a:defRPr>
                      </a:pPr>
                      <a:r>
                        <a:rPr sz="700" b="0"/>
                        <a:t>Schick Xtreme 2 Sensitive Disposable Razors 12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algn="l">
                        <a:defRPr>
                          <a:latin typeface="Nexa Book"/>
                        </a:defRPr>
                      </a:pPr>
                      <a:r>
                        <a:rPr sz="700" b="0"/>
                        <a:t>Gillette Mach 3 Sensitive Skin Disposable Razors 3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algn="l">
                        <a:defRPr>
                          <a:latin typeface="Nexa Book"/>
                        </a:defRPr>
                      </a:pPr>
                      <a:r>
                        <a:rPr sz="700" b="0"/>
                        <a:t>Equate Speed 3 Disposable Razor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algn="l">
                        <a:defRPr>
                          <a:latin typeface="Nexa Book"/>
                        </a:defRPr>
                      </a:pPr>
                      <a:r>
                        <a:rPr sz="700" b="0"/>
                        <a:t>Schick Xtreme 3 Sensitive Disposable Razor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algn="l">
                        <a:defRPr>
                          <a:latin typeface="Nexa Book"/>
                        </a:defRPr>
                      </a:pPr>
                      <a:r>
                        <a:rPr sz="700" b="0"/>
                        <a:t>Bic Men Sensitive Single Blade Disposable Razor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algn="l">
                        <a:defRPr>
                          <a:latin typeface="Nexa Book"/>
                        </a:defRPr>
                      </a:pPr>
                      <a:r>
                        <a:rPr sz="700" b="0"/>
                        <a:t>Equate Caliber 5 Disposable Razors 3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algn="l">
                        <a:defRPr>
                          <a:latin typeface="Nexa Book"/>
                        </a:defRPr>
                      </a:pPr>
                      <a:r>
                        <a:rPr sz="700" b="0"/>
                        <a:t>Gillette Sensor 3 Sensitive Disposable Razor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algn="l">
                        <a:defRPr>
                          <a:latin typeface="Nexa Book"/>
                        </a:defRPr>
                      </a:pPr>
                      <a:r>
                        <a:rPr sz="700" b="0"/>
                        <a:t>Bic Flex 4 Sensitive Skin Disposable Razors 3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algn="l">
                        <a:defRPr>
                          <a:latin typeface="Nexa Book"/>
                        </a:defRPr>
                      </a:pPr>
                      <a:r>
                        <a:rPr sz="700" b="0"/>
                        <a:t>Equate 2 Blade Disposable Razors 5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751555789"/>
              </p:ext>
            </p:extLst>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514636181"/>
              </p:ext>
            </p:extLst>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847847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Equate Blades Inn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Equate 5 Blades Blade Refills 4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Harry's Men Five Blade Refill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Harry's Men Five Blade Refills 8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Gillette Mach 3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Gillette Fusion 5 Proglide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Gillette Fusion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Harry's Men Five Blade Refill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Equate Easy Fit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Dollar Shave Club 6 Blades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Gillette Fusion 5 Proglide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Van Der Hagen Men Double Edge Blade Refills 10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Gillette Mach 3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14061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Equate Dispo Inn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Equate 2 Blade Disposable Razors 20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Equate Caliber 3 Disposable Razors 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Equate Caliber 5 Disposable Razors 6 Pack</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Equate 2 Blade Disposable Razors 12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6.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Equate 2 Blade Disposable Razors 5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Equate Caliber 5 Disposable Razors 3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Equate Speed 3 Disposable Razor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5.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Equate Speed 3 Disposable Razor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6.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Bic Men Sensitive Single Blade Disposable Razor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Schick Xtreme 3 Sensitive Disposable Razor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Equate Caliber 3 Disposable Razors 3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Gillette Sensor 3 Sensitive Disposable Razor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Bic Comfort 3 Sensitive Skin Disposable Razor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2026867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Equate Razor Inn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4238443762"/>
              </p:ext>
            </p:extLst>
          </p:nvPr>
        </p:nvGraphicFramePr>
        <p:xfrm>
          <a:off x="520200" y="1122363"/>
          <a:ext cx="6845570" cy="3625385"/>
        </p:xfrm>
        <a:graphic>
          <a:graphicData uri="http://schemas.openxmlformats.org/drawingml/2006/table">
            <a:tbl>
              <a:tblPr firstRow="1" bandRow="1">
                <a:tableStyleId>{5C22544A-7EE6-4342-B048-85BDC9FD1C3A}</a:tableStyleId>
              </a:tblPr>
              <a:tblGrid>
                <a:gridCol w="2462624">
                  <a:extLst>
                    <a:ext uri="{9D8B030D-6E8A-4147-A177-3AD203B41FA5}">
                      <a16:colId xmlns:a16="http://schemas.microsoft.com/office/drawing/2014/main" val="721526330"/>
                    </a:ext>
                  </a:extLst>
                </a:gridCol>
                <a:gridCol w="2191473">
                  <a:extLst>
                    <a:ext uri="{9D8B030D-6E8A-4147-A177-3AD203B41FA5}">
                      <a16:colId xmlns:a16="http://schemas.microsoft.com/office/drawing/2014/main" val="1048155142"/>
                    </a:ext>
                  </a:extLst>
                </a:gridCol>
                <a:gridCol w="2191473">
                  <a:extLst>
                    <a:ext uri="{9D8B030D-6E8A-4147-A177-3AD203B41FA5}">
                      <a16:colId xmlns:a16="http://schemas.microsoft.com/office/drawing/2014/main" val="2226225783"/>
                    </a:ext>
                  </a:extLst>
                </a:gridCol>
              </a:tblGrid>
              <a:tr h="443118">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Equate 5 Blades 1 Handle + 2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Equate Easy Fit 5 blades 1 Handle + 5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9297">
                <a:tc>
                  <a:txBody>
                    <a:bodyPr/>
                    <a:lstStyle/>
                    <a:p>
                      <a:pPr algn="l">
                        <a:defRPr>
                          <a:latin typeface="Nexa Book"/>
                        </a:defRPr>
                      </a:pPr>
                      <a:r>
                        <a:rPr sz="700" b="0"/>
                        <a:t>None Razor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9297">
                <a:tc>
                  <a:txBody>
                    <a:bodyPr/>
                    <a:lstStyle/>
                    <a:p>
                      <a:pPr algn="l">
                        <a:defRPr>
                          <a:latin typeface="Nexa Book"/>
                        </a:defRPr>
                      </a:pPr>
                      <a:r>
                        <a:rPr sz="700" b="0"/>
                        <a:t>Dollar Shave Club 6 Blades Blade Refill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9297">
                <a:tc>
                  <a:txBody>
                    <a:bodyPr/>
                    <a:lstStyle/>
                    <a:p>
                      <a:pPr algn="l">
                        <a:defRPr>
                          <a:latin typeface="Nexa Book"/>
                        </a:defRPr>
                      </a:pPr>
                      <a:r>
                        <a:rPr sz="700" b="0"/>
                        <a:t>Equate Easy Fit 5 blades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5.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8.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9297">
                <a:tc>
                  <a:txBody>
                    <a:bodyPr/>
                    <a:lstStyle/>
                    <a:p>
                      <a:pPr algn="l">
                        <a:defRPr>
                          <a:latin typeface="Nexa Book"/>
                        </a:defRPr>
                      </a:pPr>
                      <a:r>
                        <a:rPr sz="700" b="0"/>
                        <a:t>Gillette Fusion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9297">
                <a:tc>
                  <a:txBody>
                    <a:bodyPr/>
                    <a:lstStyle/>
                    <a:p>
                      <a:pPr algn="l">
                        <a:defRPr>
                          <a:latin typeface="Nexa Book"/>
                        </a:defRPr>
                      </a:pPr>
                      <a:r>
                        <a:rPr sz="700" b="0"/>
                        <a:t>Harry's Men Five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9297">
                <a:tc>
                  <a:txBody>
                    <a:bodyPr/>
                    <a:lstStyle/>
                    <a:p>
                      <a:pPr algn="l">
                        <a:defRPr>
                          <a:latin typeface="Nexa Book"/>
                        </a:defRPr>
                      </a:pPr>
                      <a:r>
                        <a:rPr sz="700" b="0"/>
                        <a:t>Gillette Fusion 5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9297">
                <a:tc>
                  <a:txBody>
                    <a:bodyPr/>
                    <a:lstStyle/>
                    <a:p>
                      <a:pPr algn="l">
                        <a:defRPr>
                          <a:latin typeface="Nexa Book"/>
                        </a:defRPr>
                      </a:pPr>
                      <a:r>
                        <a:rPr sz="700" b="0"/>
                        <a:t>Schick Hydro 5 Blade Sensitive 1 Handle + 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9297">
                <a:tc>
                  <a:txBody>
                    <a:bodyPr/>
                    <a:lstStyle/>
                    <a:p>
                      <a:pPr algn="l">
                        <a:defRPr>
                          <a:latin typeface="Nexa Book"/>
                        </a:defRPr>
                      </a:pPr>
                      <a:r>
                        <a:rPr sz="700" b="0"/>
                        <a:t>Gillette Mach 3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9297">
                <a:tc>
                  <a:txBody>
                    <a:bodyPr/>
                    <a:lstStyle/>
                    <a:p>
                      <a:pPr algn="l">
                        <a:defRPr>
                          <a:latin typeface="Nexa Book"/>
                        </a:defRPr>
                      </a:pPr>
                      <a:r>
                        <a:rPr sz="700" b="0"/>
                        <a:t>Dollar Shave Club 6 1 Handle + 2 Blad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9297">
                <a:tc>
                  <a:txBody>
                    <a:bodyPr/>
                    <a:lstStyle/>
                    <a:p>
                      <a:pPr algn="l">
                        <a:defRPr>
                          <a:latin typeface="Nexa Book"/>
                        </a:defRPr>
                      </a:pPr>
                      <a:r>
                        <a:rPr sz="700" b="0"/>
                        <a:t>Harry's 5 Blade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9297">
                <a:tc>
                  <a:txBody>
                    <a:bodyPr/>
                    <a:lstStyle/>
                    <a:p>
                      <a:pPr algn="l">
                        <a:defRPr>
                          <a:latin typeface="Nexa Book"/>
                        </a:defRPr>
                      </a:pPr>
                      <a:r>
                        <a:rPr sz="700" b="0"/>
                        <a:t>Equate 2 Blade Disposable Razors 12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751555789"/>
              </p:ext>
            </p:extLst>
          </p:nvPr>
        </p:nvGraphicFramePr>
        <p:xfrm>
          <a:off x="2991173" y="1569997"/>
          <a:ext cx="190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1514636181"/>
              </p:ext>
            </p:extLst>
          </p:nvPr>
        </p:nvGraphicFramePr>
        <p:xfrm>
          <a:off x="5188907" y="1569997"/>
          <a:ext cx="1908000" cy="3168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1783069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Razor Inno (1)</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3 Blade Pro Sensitive 1 Handle + 3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3 Blade Ingrown Defense 1 Handle + 3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Advanced Hydration 1 Handle + 3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Quattro Four Blade 1 Handle + 4 Cartri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Schick Hydro 5 Blade Sensitive 1 Handle + 3 Cartridge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9.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8.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8.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Gillette Mach 3 Blade Refill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Harry's Men Five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Dollar Shave Club 6 Blades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Gillette Mach 3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Gillette Mach 3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Equate Easy Fit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Schick Xtreme 3 Sensitive Disposable Razor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Gillette Fusion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Dollar Shave Club 6 1 Handle + 2 Blad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203120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Razor Inno (2)</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Sensitive 1 Handle + 5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Sensitive 1 Handle + 8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Blade Chrome 1 Handle + 3 Cartridges + Docking Station/Stand + Travel Cover</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Schick Hydro 5 Groomer 1 Handle + 1 Cartridge</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Schick Hydro 5 Blade Sensitive 1 Handle + 3 Cartridge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7.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one Razors</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Gillette Mach 3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Gillette Fusion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rry's Men Five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Gillette Fusion 5 Proglide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Gillette Mach 3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Gillette Mach 3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Equate Easy Fit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Gillette Fusion 5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Dollar Shave Club 6 Blades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3944786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Dispo Inno (2)</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4</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0">
                <a:tc>
                  <a:txBody>
                    <a:bodyPr/>
                    <a:lstStyle/>
                    <a:p>
                      <a:pPr algn="ctr">
                        <a:defRPr sz="800">
                          <a:latin typeface="Nexa Book"/>
                        </a:defRPr>
                      </a:pPr>
                      <a:r>
                        <a:rPr sz="700"/>
                        <a:t>Schick Xtreme 5 Sensitive Disposable Razors 2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6.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0">
                <a:tc>
                  <a:txBody>
                    <a:bodyPr/>
                    <a:lstStyle/>
                    <a:p>
                      <a:pPr algn="ctr">
                        <a:defRPr sz="800">
                          <a:latin typeface="Nexa Book"/>
                        </a:defRPr>
                      </a:pPr>
                      <a:r>
                        <a:rPr sz="700"/>
                        <a:t>Schick First 4 Blade Disposable Razors 3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9.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7.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7341462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8/19/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ly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Wilkinson Sword</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Wilkinson Sword Classic Double Edge 1 Handle + 5 Cartridges</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Harry's Men Five Blade Refill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Gillette Mach 3 Blade Refills 4 Pack</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Schick Hydro 5 Blade Sensitive 1 Handle + 3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Gillette Mach 3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Harry's Men Five Blade Refills 8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Gillette Fusion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Dollar Shave Club 6 Blades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Schick Hydro 5 Blade Sensitive Refills 6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None Razor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Harry's 5 Blade 1 Handle + 2 Cartridges</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Equate Easy Fit 5 Blade Refills 4 Pack</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734150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Equate Blades Inno</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5</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3484560">
                <a:tc>
                  <a:txBody>
                    <a:bodyPr/>
                    <a:lstStyle/>
                    <a:p>
                      <a:pPr algn="ctr">
                        <a:defRPr sz="800">
                          <a:latin typeface="Nexa Book"/>
                        </a:defRPr>
                      </a:pPr>
                      <a:r>
                        <a:rPr sz="700"/>
                        <a:t>Equate 5 Blades Blade Refills 4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71.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9970842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Equate Dispo Inno</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6</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161520">
                <a:tc>
                  <a:txBody>
                    <a:bodyPr/>
                    <a:lstStyle/>
                    <a:p>
                      <a:pPr algn="ctr">
                        <a:defRPr sz="800">
                          <a:latin typeface="Nexa Book"/>
                        </a:defRPr>
                      </a:pPr>
                      <a:r>
                        <a:rPr sz="700"/>
                        <a:t>Equate 2 Blade Disposable Razors 20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71.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9.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98.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7.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1161520">
                <a:tc>
                  <a:txBody>
                    <a:bodyPr/>
                    <a:lstStyle/>
                    <a:p>
                      <a:pPr algn="ctr">
                        <a:defRPr sz="800">
                          <a:latin typeface="Nexa Book"/>
                        </a:defRPr>
                      </a:pPr>
                      <a:r>
                        <a:rPr sz="700"/>
                        <a:t>Equate Caliber 3 Disposable Razors 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5.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161520">
                <a:tc>
                  <a:txBody>
                    <a:bodyPr/>
                    <a:lstStyle/>
                    <a:p>
                      <a:pPr algn="ctr">
                        <a:defRPr sz="800">
                          <a:latin typeface="Nexa Book"/>
                        </a:defRPr>
                      </a:pPr>
                      <a:r>
                        <a:rPr sz="700"/>
                        <a:t>Equate Caliber 5 Disposable Razors 6 Pack</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7.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7.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22741503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Equate Razor Inno</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7</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1742280">
                <a:tc>
                  <a:txBody>
                    <a:bodyPr/>
                    <a:lstStyle/>
                    <a:p>
                      <a:pPr algn="ctr">
                        <a:defRPr sz="800">
                          <a:latin typeface="Nexa Book"/>
                        </a:defRPr>
                      </a:pPr>
                      <a:r>
                        <a:rPr sz="700"/>
                        <a:t>Equate 5 Blades 1 Handle + 2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7.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1742280">
                <a:tc>
                  <a:txBody>
                    <a:bodyPr/>
                    <a:lstStyle/>
                    <a:p>
                      <a:pPr algn="ctr">
                        <a:defRPr sz="800">
                          <a:latin typeface="Nexa Book"/>
                        </a:defRPr>
                      </a:pPr>
                      <a:r>
                        <a:rPr sz="700"/>
                        <a:t>Equate Easy Fit 5 blades 1 Handle + 5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17.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17580622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Razor Inno (1)</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8</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871140">
                <a:tc>
                  <a:txBody>
                    <a:bodyPr/>
                    <a:lstStyle/>
                    <a:p>
                      <a:pPr algn="ctr">
                        <a:defRPr sz="800">
                          <a:latin typeface="Nexa Book"/>
                        </a:defRPr>
                      </a:pPr>
                      <a:r>
                        <a:rPr sz="700"/>
                        <a:t>Schick Hydro 3 Blade Pro Sensitive 1 Handle + 3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61.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871140">
                <a:tc>
                  <a:txBody>
                    <a:bodyPr/>
                    <a:lstStyle/>
                    <a:p>
                      <a:pPr algn="ctr">
                        <a:defRPr sz="800">
                          <a:latin typeface="Nexa Book"/>
                        </a:defRPr>
                      </a:pPr>
                      <a:r>
                        <a:rPr sz="700"/>
                        <a:t>Schick Hydro 3 Blade Ingrown Defense 1 Handle + 3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27.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5.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5.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871140">
                <a:tc>
                  <a:txBody>
                    <a:bodyPr/>
                    <a:lstStyle/>
                    <a:p>
                      <a:pPr algn="ctr">
                        <a:defRPr sz="800">
                          <a:latin typeface="Nexa Book"/>
                        </a:defRPr>
                      </a:pPr>
                      <a:r>
                        <a:rPr sz="700"/>
                        <a:t>Schick Hydro 5 Blade Advanced Hydration 1 Handle + 3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5.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4.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871140">
                <a:tc>
                  <a:txBody>
                    <a:bodyPr/>
                    <a:lstStyle/>
                    <a:p>
                      <a:pPr algn="ctr">
                        <a:defRPr sz="800">
                          <a:latin typeface="Nexa Book"/>
                        </a:defRPr>
                      </a:pPr>
                      <a:r>
                        <a:rPr sz="700"/>
                        <a:t>Schick Quattro Four Blade 1 Handle + 4 Cartri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4.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9.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19462279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t>Summary | Innovations | Razor Inno (2)</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8/19/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9</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extLst>
              <p:ext uri="{D42A27DB-BD31-4B8C-83A1-F6EECF244321}">
                <p14:modId xmlns:p14="http://schemas.microsoft.com/office/powerpoint/2010/main" val="1714153667"/>
              </p:ext>
            </p:extLst>
          </p:nvPr>
        </p:nvGraphicFramePr>
        <p:xfrm>
          <a:off x="503238" y="1049315"/>
          <a:ext cx="8243580" cy="3683433"/>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871140">
                <a:tc>
                  <a:txBody>
                    <a:bodyPr/>
                    <a:lstStyle/>
                    <a:p>
                      <a:pPr algn="ctr">
                        <a:defRPr sz="800">
                          <a:latin typeface="Nexa Book"/>
                        </a:defRPr>
                      </a:pPr>
                      <a:r>
                        <a:rPr sz="700"/>
                        <a:t>Schick Hydro 5 Blade Sensitive 1 Handle + 5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3.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1.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6.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7.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5.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871140">
                <a:tc>
                  <a:txBody>
                    <a:bodyPr/>
                    <a:lstStyle/>
                    <a:p>
                      <a:pPr algn="ctr">
                        <a:defRPr sz="800">
                          <a:latin typeface="Nexa Book"/>
                        </a:defRPr>
                      </a:pPr>
                      <a:r>
                        <a:rPr sz="700"/>
                        <a:t>Schick Hydro 5 Blade Sensitive 1 Handle + 8 Cartridge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28.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2.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9.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6.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871140">
                <a:tc>
                  <a:txBody>
                    <a:bodyPr/>
                    <a:lstStyle/>
                    <a:p>
                      <a:pPr algn="ctr">
                        <a:defRPr sz="800">
                          <a:latin typeface="Nexa Book"/>
                        </a:defRPr>
                      </a:pPr>
                      <a:r>
                        <a:rPr sz="700"/>
                        <a:t>Schick Hydro 5 Blade Chrome 1 Handle + 3 Cartridges + Docking Station/Stand + Travel Cover</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22.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1.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2.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1.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3.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871140">
                <a:tc>
                  <a:txBody>
                    <a:bodyPr/>
                    <a:lstStyle/>
                    <a:p>
                      <a:pPr algn="ctr">
                        <a:defRPr sz="800">
                          <a:latin typeface="Nexa Book"/>
                        </a:defRPr>
                      </a:pPr>
                      <a:r>
                        <a:rPr sz="700"/>
                        <a:t>Schick Hydro 5 Groomer 1 Handle + 1 Cartridg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26.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10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52.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ly 2025</a:t>
            </a:r>
          </a:p>
        </p:txBody>
      </p:sp>
    </p:spTree>
    <p:extLst>
      <p:ext uri="{BB962C8B-B14F-4D97-AF65-F5344CB8AC3E}">
        <p14:creationId xmlns:p14="http://schemas.microsoft.com/office/powerpoint/2010/main" val="2590511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D21786C5-D6DC-4DB9-87D8-B24F55D318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5601</Words>
  <Application>Microsoft Office PowerPoint</Application>
  <PresentationFormat>On-screen Show (16:9)</PresentationFormat>
  <Paragraphs>2265</Paragraphs>
  <Slides>40</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9"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ophie  ZIMMERMANN</cp:lastModifiedBy>
  <cp:revision>16</cp:revision>
  <dcterms:created xsi:type="dcterms:W3CDTF">2024-07-08T12:20:01Z</dcterms:created>
  <dcterms:modified xsi:type="dcterms:W3CDTF">2025-08-19T11:1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